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1" r:id="rId4"/>
  </p:sldMasterIdLst>
  <p:notesMasterIdLst>
    <p:notesMasterId r:id="rId18"/>
  </p:notesMasterIdLst>
  <p:handoutMasterIdLst>
    <p:handoutMasterId r:id="rId19"/>
  </p:handoutMasterIdLst>
  <p:sldIdLst>
    <p:sldId id="307" r:id="rId5"/>
    <p:sldId id="312" r:id="rId6"/>
    <p:sldId id="313" r:id="rId7"/>
    <p:sldId id="335" r:id="rId8"/>
    <p:sldId id="315" r:id="rId9"/>
    <p:sldId id="316" r:id="rId10"/>
    <p:sldId id="338" r:id="rId11"/>
    <p:sldId id="342" r:id="rId12"/>
    <p:sldId id="334" r:id="rId13"/>
    <p:sldId id="339" r:id="rId14"/>
    <p:sldId id="340" r:id="rId15"/>
    <p:sldId id="341" r:id="rId16"/>
    <p:sldId id="291" r:id="rId17"/>
  </p:sldIdLst>
  <p:sldSz cx="12192000" cy="6858000"/>
  <p:notesSz cx="6819900" cy="99187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7D1AE495-9173-4F95-B2CB-077EF56DCEF2}">
          <p14:sldIdLst>
            <p14:sldId id="307"/>
            <p14:sldId id="312"/>
            <p14:sldId id="313"/>
            <p14:sldId id="335"/>
            <p14:sldId id="315"/>
            <p14:sldId id="316"/>
            <p14:sldId id="338"/>
            <p14:sldId id="342"/>
            <p14:sldId id="334"/>
            <p14:sldId id="339"/>
            <p14:sldId id="340"/>
            <p14:sldId id="341"/>
          </p14:sldIdLst>
        </p14:section>
        <p14:section name="Appendix" id="{3E4FE2A1-7578-4583-9667-1131FFA71EC9}">
          <p14:sldIdLst>
            <p14:sldId id="29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khil AS" initials="NA" lastIdx="5" clrIdx="0">
    <p:extLst>
      <p:ext uri="{19B8F6BF-5375-455C-9EA6-DF929625EA0E}">
        <p15:presenceInfo xmlns:p15="http://schemas.microsoft.com/office/powerpoint/2012/main" userId="S-1-5-21-1738030525-1541242273-316617838-200761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B3B"/>
    <a:srgbClr val="E0EEF4"/>
    <a:srgbClr val="FFF9E2"/>
    <a:srgbClr val="D0D4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295" autoAdjust="0"/>
    <p:restoredTop sz="82583" autoAdjust="0"/>
  </p:normalViewPr>
  <p:slideViewPr>
    <p:cSldViewPr snapToGrid="0">
      <p:cViewPr varScale="1">
        <p:scale>
          <a:sx n="76" d="100"/>
          <a:sy n="76" d="100"/>
        </p:scale>
        <p:origin x="1410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792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65138" y="156643"/>
            <a:ext cx="2955290" cy="15388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574865" y="156643"/>
            <a:ext cx="2772000" cy="15388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r">
              <a:defRPr sz="1200"/>
            </a:lvl1pPr>
          </a:lstStyle>
          <a:p>
            <a:fld id="{38A3AD34-EEB9-4C9E-BF21-2EA80C15652E}" type="datetimeFigureOut">
              <a:rPr lang="en-US" sz="1000" smtClean="0"/>
              <a:pPr/>
              <a:t>6/15/2019</a:t>
            </a:fld>
            <a:endParaRPr lang="en-US" sz="1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65138" y="9686094"/>
            <a:ext cx="295529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90865" y="9686094"/>
            <a:ext cx="255600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09B54FEB-1CC3-4ADA-BC8C-8630FE204E89}" type="slidenum">
              <a:rPr lang="en-US" sz="1000" smtClean="0"/>
              <a:pPr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690288147"/>
      </p:ext>
    </p:extLst>
  </p:cSld>
  <p:clrMap bg1="lt1" tx1="dk1" bg2="lt2" tx2="dk2" accent1="accent1" accent2="accent2" accent3="accent3" accent4="accent4" accent5="accent5" accent6="accent6" hlink="hlink" folHlink="folHlink"/>
  <p:extLst mod="1">
    <p:ext uri="{56416CCD-93CA-4268-BC5B-53C4BB910035}">
      <p15:sldGuideLst xmlns:p15="http://schemas.microsoft.com/office/powerpoint/2012/main">
        <p15:guide id="1" pos="234" userDrawn="1">
          <p15:clr>
            <a:srgbClr val="C35EA4"/>
          </p15:clr>
        </p15:guide>
        <p15:guide id="2" pos="3995" userDrawn="1">
          <p15:clr>
            <a:srgbClr val="C35EA4"/>
          </p15:clr>
        </p15:guide>
        <p15:guide id="3" orient="horz" pos="822" userDrawn="1">
          <p15:clr>
            <a:srgbClr val="C35EA4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429635" y="78718"/>
            <a:ext cx="2955290" cy="14400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r">
              <a:defRPr sz="1000"/>
            </a:lvl1pPr>
          </a:lstStyle>
          <a:p>
            <a:fld id="{4AAE48C0-F8CF-41BB-AD86-35BC16D02E78}" type="datetimeFigureOut">
              <a:rPr lang="en-GB" smtClean="0"/>
              <a:pPr/>
              <a:t>15/06/2019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34976" y="9686094"/>
            <a:ext cx="295529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>
              <a:defRPr sz="10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684926" y="9686094"/>
            <a:ext cx="2700000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000"/>
            </a:lvl1pPr>
          </a:lstStyle>
          <a:p>
            <a:fld id="{4B9FA167-6D91-40FB-A5E9-D55076958A4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34976" y="4609578"/>
            <a:ext cx="5949950" cy="46847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474739" y="78718"/>
            <a:ext cx="2756758" cy="14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000"/>
            </a:lvl1pPr>
          </a:lstStyle>
          <a:p>
            <a:endParaRPr lang="en-GB" dirty="0"/>
          </a:p>
        </p:txBody>
      </p:sp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>
          <a:xfrm>
            <a:off x="434975" y="944563"/>
            <a:ext cx="5949950" cy="3348037"/>
          </a:xfrm>
          <a:prstGeom prst="rect">
            <a:avLst/>
          </a:prstGeom>
          <a:noFill/>
          <a:ln w="3175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68132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marR="0" indent="-177800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Arial" panose="020B0604020202020204" pitchFamily="34" charset="0"/>
      <a:buChar char="•"/>
      <a:tabLst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57188" marR="0" indent="-179388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−"/>
      <a:tabLst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447675" marR="0" indent="-90488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627063" marR="0" indent="-92075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808038" marR="0" indent="-93663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 mod="1">
    <p:ext uri="{620B2872-D7B9-4A21-9093-7833F8D536E1}">
      <p15:sldGuideLst xmlns:p15="http://schemas.microsoft.com/office/powerpoint/2012/main">
        <p15:guide id="1" orient="horz" pos="2896" userDrawn="1">
          <p15:clr>
            <a:srgbClr val="F26B43"/>
          </p15:clr>
        </p15:guide>
        <p15:guide id="2" orient="horz" pos="595" userDrawn="1">
          <p15:clr>
            <a:srgbClr val="F26B43"/>
          </p15:clr>
        </p15:guide>
        <p15:guide id="3" pos="279" userDrawn="1">
          <p15:clr>
            <a:srgbClr val="F26B43"/>
          </p15:clr>
        </p15:guide>
        <p15:guide id="4" pos="402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3326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12193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89307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70725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79347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8516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age – Intern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31800" y="4074530"/>
            <a:ext cx="11340000" cy="900000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GB" dirty="0" smtClean="0"/>
              <a:t>Click to add presentation title – subtitle </a:t>
            </a:r>
            <a:br>
              <a:rPr lang="en-GB" dirty="0" smtClean="0"/>
            </a:br>
            <a:r>
              <a:rPr lang="en-GB" dirty="0" smtClean="0"/>
              <a:t>– max. two lines</a:t>
            </a:r>
            <a:endParaRPr lang="en-GB" dirty="0"/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431800" y="5077820"/>
            <a:ext cx="11340000" cy="18466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200" baseline="0">
                <a:solidFill>
                  <a:schemeClr val="tx2"/>
                </a:solidFill>
                <a:latin typeface="Danske Text" panose="000004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 smtClean="0"/>
              <a:t>Click to add document type / audience / date [</a:t>
            </a:r>
            <a:r>
              <a:rPr lang="en-GB" dirty="0" err="1" smtClean="0"/>
              <a:t>dd</a:t>
            </a:r>
            <a:r>
              <a:rPr lang="en-GB" dirty="0" smtClean="0"/>
              <a:t> </a:t>
            </a:r>
            <a:r>
              <a:rPr lang="en-GB" dirty="0" err="1" smtClean="0"/>
              <a:t>mmmm</a:t>
            </a:r>
            <a:r>
              <a:rPr lang="en-GB" dirty="0" smtClean="0"/>
              <a:t> </a:t>
            </a:r>
            <a:r>
              <a:rPr lang="en-GB" dirty="0" err="1" smtClean="0"/>
              <a:t>yyyy</a:t>
            </a:r>
            <a:r>
              <a:rPr lang="en-GB" dirty="0" smtClean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19522099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orient="horz" pos="2567" userDrawn="1">
          <p15:clr>
            <a:srgbClr val="F26B43"/>
          </p15:clr>
        </p15:guide>
        <p15:guide id="3" orient="horz" pos="3198" userDrawn="1">
          <p15:clr>
            <a:srgbClr val="F26B43"/>
          </p15:clr>
        </p15:guide>
        <p15:guide id="7" orient="horz" pos="3135" userDrawn="1">
          <p15:clr>
            <a:srgbClr val="F26B43"/>
          </p15:clr>
        </p15:guide>
        <p15:guide id="8" orient="horz" pos="3315" userDrawn="1">
          <p15:clr>
            <a:srgbClr val="F26B43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– w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36360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3636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4284198" y="1522800"/>
            <a:ext cx="7488000" cy="24622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4284198" y="1800000"/>
            <a:ext cx="7488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4784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69">
          <p15:clr>
            <a:srgbClr val="F26B43"/>
          </p15:clr>
        </p15:guide>
        <p15:guide id="2" orient="horz" pos="411">
          <p15:clr>
            <a:srgbClr val="F26B43"/>
          </p15:clr>
        </p15:guide>
        <p15:guide id="3" orient="horz" pos="292">
          <p15:clr>
            <a:srgbClr val="F26B43"/>
          </p15:clr>
        </p15:guide>
        <p15:guide id="4" orient="horz" pos="4179" userDrawn="1">
          <p15:clr>
            <a:srgbClr val="F26B43"/>
          </p15:clr>
        </p15:guide>
        <p15:guide id="5" pos="2696">
          <p15:clr>
            <a:srgbClr val="F26B43"/>
          </p15:clr>
        </p15:guide>
        <p15:guide id="7" orient="horz" pos="1115">
          <p15:clr>
            <a:srgbClr val="F26B43"/>
          </p15:clr>
        </p15:guide>
        <p15:guide id="8" orient="horz" pos="4258">
          <p15:clr>
            <a:srgbClr val="F26B43"/>
          </p15:clr>
        </p15:guide>
        <p15:guide id="9" orient="horz" pos="1133" userDrawn="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– wide lef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74880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7488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8136198" y="1522800"/>
            <a:ext cx="3636000" cy="24622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8136198" y="1800000"/>
            <a:ext cx="3636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9808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1">
          <p15:clr>
            <a:srgbClr val="F26B43"/>
          </p15:clr>
        </p15:guide>
        <p15:guide id="2" orient="horz" pos="292">
          <p15:clr>
            <a:srgbClr val="F26B43"/>
          </p15:clr>
        </p15:guide>
        <p15:guide id="3" orient="horz" pos="4178">
          <p15:clr>
            <a:srgbClr val="F26B43"/>
          </p15:clr>
        </p15:guide>
        <p15:guide id="4" pos="4996">
          <p15:clr>
            <a:srgbClr val="F26B43"/>
          </p15:clr>
        </p15:guide>
        <p15:guide id="5" pos="5124">
          <p15:clr>
            <a:srgbClr val="F26B43"/>
          </p15:clr>
        </p15:guide>
        <p15:guide id="7" orient="horz" pos="1115">
          <p15:clr>
            <a:srgbClr val="F26B43"/>
          </p15:clr>
        </p15:guide>
        <p15:guide id="8" orient="horz" pos="4258">
          <p15:clr>
            <a:srgbClr val="F26B43"/>
          </p15:clr>
        </p15:guide>
        <p15:guide id="9" orient="horz" pos="1133" userDrawn="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36360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3636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4284198" y="1522800"/>
            <a:ext cx="3636000" cy="24622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4284198" y="1800000"/>
            <a:ext cx="3636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8136198" y="1522800"/>
            <a:ext cx="36360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8136198" y="1800000"/>
            <a:ext cx="3636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05074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69">
          <p15:clr>
            <a:srgbClr val="F26B43"/>
          </p15:clr>
        </p15:guide>
        <p15:guide id="2" orient="horz" pos="411">
          <p15:clr>
            <a:srgbClr val="F26B43"/>
          </p15:clr>
        </p15:guide>
        <p15:guide id="3" orient="horz" pos="292">
          <p15:clr>
            <a:srgbClr val="F26B43"/>
          </p15:clr>
        </p15:guide>
        <p15:guide id="4" orient="horz" pos="4178">
          <p15:clr>
            <a:srgbClr val="F26B43"/>
          </p15:clr>
        </p15:guide>
        <p15:guide id="5" pos="4996">
          <p15:clr>
            <a:srgbClr val="F26B43"/>
          </p15:clr>
        </p15:guide>
        <p15:guide id="6" pos="2696">
          <p15:clr>
            <a:srgbClr val="F26B43"/>
          </p15:clr>
        </p15:guide>
        <p15:guide id="7" pos="5124">
          <p15:clr>
            <a:srgbClr val="F26B43"/>
          </p15:clr>
        </p15:guide>
        <p15:guide id="10" orient="horz" pos="4258">
          <p15:clr>
            <a:srgbClr val="F26B43"/>
          </p15:clr>
        </p15:guide>
        <p15:guide id="11" orient="horz" pos="1115" userDrawn="1">
          <p15:clr>
            <a:srgbClr val="F26B43"/>
          </p15:clr>
        </p15:guide>
        <p15:guide id="12" orient="horz" pos="1133" userDrawn="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55620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5562000" cy="2052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432198" y="4077169"/>
            <a:ext cx="5562000" cy="246221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432198" y="4356000"/>
            <a:ext cx="5562000" cy="2052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6208998" y="1522800"/>
            <a:ext cx="55620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6208998" y="1800000"/>
            <a:ext cx="55620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6208998" y="4077169"/>
            <a:ext cx="55620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6208998" y="4356000"/>
            <a:ext cx="55620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432198" y="6886754"/>
            <a:ext cx="20880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9912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92">
          <p15:clr>
            <a:srgbClr val="F26B43"/>
          </p15:clr>
        </p15:guide>
        <p15:guide id="2" orient="horz" pos="4178">
          <p15:clr>
            <a:srgbClr val="F26B43"/>
          </p15:clr>
        </p15:guide>
        <p15:guide id="3" pos="3911">
          <p15:clr>
            <a:srgbClr val="F26B43"/>
          </p15:clr>
        </p15:guide>
        <p15:guide id="4" pos="3778">
          <p15:clr>
            <a:srgbClr val="F26B43"/>
          </p15:clr>
        </p15:guide>
        <p15:guide id="6" orient="horz" pos="2743">
          <p15:clr>
            <a:srgbClr val="F26B43"/>
          </p15:clr>
        </p15:guide>
        <p15:guide id="7" orient="horz" pos="410">
          <p15:clr>
            <a:srgbClr val="F26B43"/>
          </p15:clr>
        </p15:guide>
        <p15:guide id="8" orient="horz" pos="4258">
          <p15:clr>
            <a:srgbClr val="F26B43"/>
          </p15:clr>
        </p15:guide>
        <p15:guide id="9" orient="horz" pos="2724">
          <p15:clr>
            <a:srgbClr val="F26B43"/>
          </p15:clr>
        </p15:guide>
        <p15:guide id="10" orient="horz" pos="2568">
          <p15:clr>
            <a:srgbClr val="F26B43"/>
          </p15:clr>
        </p15:guide>
        <p15:guide id="11" orient="horz" pos="2428">
          <p15:clr>
            <a:srgbClr val="F26B43"/>
          </p15:clr>
        </p15:guide>
        <p15:guide id="12" orient="horz" pos="1133" userDrawn="1">
          <p15:clr>
            <a:srgbClr val="F26B43"/>
          </p15:clr>
        </p15:guide>
        <p15:guide id="13" orient="horz" pos="1115" userDrawn="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– h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26748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33205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3320598" y="1800000"/>
            <a:ext cx="26748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62089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6208998" y="1800000"/>
            <a:ext cx="26748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90973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9097398" y="1800000"/>
            <a:ext cx="26748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432198" y="6886754"/>
            <a:ext cx="20880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729200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957">
          <p15:clr>
            <a:srgbClr val="F26B43"/>
          </p15:clr>
        </p15:guide>
        <p15:guide id="2" orient="horz" pos="292">
          <p15:clr>
            <a:srgbClr val="F26B43"/>
          </p15:clr>
        </p15:guide>
        <p15:guide id="3" orient="horz" pos="4178">
          <p15:clr>
            <a:srgbClr val="F26B43"/>
          </p15:clr>
        </p15:guide>
        <p15:guide id="4" pos="3911">
          <p15:clr>
            <a:srgbClr val="F26B43"/>
          </p15:clr>
        </p15:guide>
        <p15:guide id="5" pos="2092">
          <p15:clr>
            <a:srgbClr val="F26B43"/>
          </p15:clr>
        </p15:guide>
        <p15:guide id="6" pos="3778">
          <p15:clr>
            <a:srgbClr val="F26B43"/>
          </p15:clr>
        </p15:guide>
        <p15:guide id="7" pos="5597">
          <p15:clr>
            <a:srgbClr val="F26B43"/>
          </p15:clr>
        </p15:guide>
        <p15:guide id="8" pos="5730">
          <p15:clr>
            <a:srgbClr val="F26B43"/>
          </p15:clr>
        </p15:guide>
        <p15:guide id="9" orient="horz" pos="958">
          <p15:clr>
            <a:srgbClr val="F26B43"/>
          </p15:clr>
        </p15:guide>
        <p15:guide id="10" orient="horz" pos="410">
          <p15:clr>
            <a:srgbClr val="F26B43"/>
          </p15:clr>
        </p15:guide>
        <p15:guide id="11" orient="horz" pos="4258">
          <p15:clr>
            <a:srgbClr val="F26B43"/>
          </p15:clr>
        </p15:guide>
        <p15:guide id="12" orient="horz" pos="1115">
          <p15:clr>
            <a:srgbClr val="F26B43"/>
          </p15:clr>
        </p15:guide>
        <p15:guide id="13" orient="horz" pos="1133" userDrawn="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36360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36360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432198" y="4077169"/>
            <a:ext cx="3636000" cy="24622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432198" y="4356000"/>
            <a:ext cx="36360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4284198" y="1522800"/>
            <a:ext cx="36360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4284198" y="1800000"/>
            <a:ext cx="36360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4284198" y="4077169"/>
            <a:ext cx="36360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4284198" y="4356000"/>
            <a:ext cx="36360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DESCRIPTION Placeholder 5"/>
          <p:cNvSpPr>
            <a:spLocks noGrp="1"/>
          </p:cNvSpPr>
          <p:nvPr>
            <p:ph type="body" sz="quarter" idx="79" hasCustomPrompt="1"/>
          </p:nvPr>
        </p:nvSpPr>
        <p:spPr>
          <a:xfrm>
            <a:off x="8136198" y="1522800"/>
            <a:ext cx="36360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28" name="CONTENT Placeholder 5"/>
          <p:cNvSpPr>
            <a:spLocks noGrp="1"/>
          </p:cNvSpPr>
          <p:nvPr>
            <p:ph sz="quarter" idx="80"/>
          </p:nvPr>
        </p:nvSpPr>
        <p:spPr>
          <a:xfrm>
            <a:off x="8136198" y="1800000"/>
            <a:ext cx="36360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0" name="DESCRIPTION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36198" y="4077169"/>
            <a:ext cx="36360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33" name="CONTENT Placeholder 6"/>
          <p:cNvSpPr>
            <a:spLocks noGrp="1"/>
          </p:cNvSpPr>
          <p:nvPr>
            <p:ph sz="quarter" idx="82"/>
          </p:nvPr>
        </p:nvSpPr>
        <p:spPr>
          <a:xfrm>
            <a:off x="8136198" y="4356000"/>
            <a:ext cx="36360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964377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69" userDrawn="1">
          <p15:clr>
            <a:srgbClr val="F26B43"/>
          </p15:clr>
        </p15:guide>
        <p15:guide id="2" orient="horz" pos="411" userDrawn="1">
          <p15:clr>
            <a:srgbClr val="F26B43"/>
          </p15:clr>
        </p15:guide>
        <p15:guide id="3" orient="horz" pos="292">
          <p15:clr>
            <a:srgbClr val="F26B43"/>
          </p15:clr>
        </p15:guide>
        <p15:guide id="4" orient="horz" pos="4178" userDrawn="1">
          <p15:clr>
            <a:srgbClr val="F26B43"/>
          </p15:clr>
        </p15:guide>
        <p15:guide id="5" pos="4996" userDrawn="1">
          <p15:clr>
            <a:srgbClr val="F26B43"/>
          </p15:clr>
        </p15:guide>
        <p15:guide id="7" pos="2696" userDrawn="1">
          <p15:clr>
            <a:srgbClr val="F26B43"/>
          </p15:clr>
        </p15:guide>
        <p15:guide id="8" pos="5124" userDrawn="1">
          <p15:clr>
            <a:srgbClr val="F26B43"/>
          </p15:clr>
        </p15:guide>
        <p15:guide id="11" orient="horz" pos="2428" userDrawn="1">
          <p15:clr>
            <a:srgbClr val="F26B43"/>
          </p15:clr>
        </p15:guide>
        <p15:guide id="13" orient="horz" pos="958" userDrawn="1">
          <p15:clr>
            <a:srgbClr val="F26B43"/>
          </p15:clr>
        </p15:guide>
        <p15:guide id="14" orient="horz" pos="2568" userDrawn="1">
          <p15:clr>
            <a:srgbClr val="F26B43"/>
          </p15:clr>
        </p15:guide>
        <p15:guide id="19" orient="horz" pos="2724" userDrawn="1">
          <p15:clr>
            <a:srgbClr val="F26B43"/>
          </p15:clr>
        </p15:guide>
        <p15:guide id="20" orient="horz" pos="1115" userDrawn="1">
          <p15:clr>
            <a:srgbClr val="F26B43"/>
          </p15:clr>
        </p15:guide>
        <p15:guide id="22" orient="horz" pos="2743" userDrawn="1">
          <p15:clr>
            <a:srgbClr val="F26B43"/>
          </p15:clr>
        </p15:guide>
        <p15:guide id="23" orient="horz" pos="4258" userDrawn="1">
          <p15:clr>
            <a:srgbClr val="F26B43"/>
          </p15:clr>
        </p15:guide>
        <p15:guide id="24" orient="horz" pos="1133" userDrawn="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s – w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55620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55620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432198" y="4077169"/>
            <a:ext cx="5562000" cy="246221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432198" y="4356000"/>
            <a:ext cx="55620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62083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6208398" y="1800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6208398" y="4077169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6208398" y="4356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DESCRIPTION Placeholder 5"/>
          <p:cNvSpPr>
            <a:spLocks noGrp="1"/>
          </p:cNvSpPr>
          <p:nvPr>
            <p:ph type="body" sz="quarter" idx="79" hasCustomPrompt="1"/>
          </p:nvPr>
        </p:nvSpPr>
        <p:spPr>
          <a:xfrm>
            <a:off x="90973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28" name="CONTENT Placeholder 5"/>
          <p:cNvSpPr>
            <a:spLocks noGrp="1"/>
          </p:cNvSpPr>
          <p:nvPr>
            <p:ph sz="quarter" idx="80"/>
          </p:nvPr>
        </p:nvSpPr>
        <p:spPr>
          <a:xfrm>
            <a:off x="9097398" y="1800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0" name="DESCRIPTION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9097398" y="4077169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33" name="CONTENT Placeholder 6"/>
          <p:cNvSpPr>
            <a:spLocks noGrp="1"/>
          </p:cNvSpPr>
          <p:nvPr>
            <p:ph sz="quarter" idx="82"/>
          </p:nvPr>
        </p:nvSpPr>
        <p:spPr>
          <a:xfrm>
            <a:off x="9097398" y="4356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432198" y="6955200"/>
            <a:ext cx="20880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81343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92">
          <p15:clr>
            <a:srgbClr val="F26B43"/>
          </p15:clr>
        </p15:guide>
        <p15:guide id="2" orient="horz" pos="4178">
          <p15:clr>
            <a:srgbClr val="F26B43"/>
          </p15:clr>
        </p15:guide>
        <p15:guide id="3" pos="3911">
          <p15:clr>
            <a:srgbClr val="F26B43"/>
          </p15:clr>
        </p15:guide>
        <p15:guide id="4" pos="3778">
          <p15:clr>
            <a:srgbClr val="F26B43"/>
          </p15:clr>
        </p15:guide>
        <p15:guide id="5" pos="5597">
          <p15:clr>
            <a:srgbClr val="F26B43"/>
          </p15:clr>
        </p15:guide>
        <p15:guide id="6" pos="5730">
          <p15:clr>
            <a:srgbClr val="F26B43"/>
          </p15:clr>
        </p15:guide>
        <p15:guide id="7" orient="horz" pos="958">
          <p15:clr>
            <a:srgbClr val="F26B43"/>
          </p15:clr>
        </p15:guide>
        <p15:guide id="8" orient="horz" pos="2743">
          <p15:clr>
            <a:srgbClr val="F26B43"/>
          </p15:clr>
        </p15:guide>
        <p15:guide id="9" orient="horz" pos="410">
          <p15:clr>
            <a:srgbClr val="F26B43"/>
          </p15:clr>
        </p15:guide>
        <p15:guide id="10" orient="horz" pos="4258">
          <p15:clr>
            <a:srgbClr val="F26B43"/>
          </p15:clr>
        </p15:guide>
        <p15:guide id="11" orient="horz" pos="2724">
          <p15:clr>
            <a:srgbClr val="F26B43"/>
          </p15:clr>
        </p15:guide>
        <p15:guide id="12" orient="horz" pos="2568">
          <p15:clr>
            <a:srgbClr val="F26B43"/>
          </p15:clr>
        </p15:guide>
        <p15:guide id="13" orient="horz" pos="2428">
          <p15:clr>
            <a:srgbClr val="F26B43"/>
          </p15:clr>
        </p15:guide>
        <p15:guide id="14" orient="horz" pos="1115">
          <p15:clr>
            <a:srgbClr val="F26B43"/>
          </p15:clr>
        </p15:guide>
        <p15:guide id="15" orient="horz" pos="1133" userDrawn="1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s – w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432198" y="4077169"/>
            <a:ext cx="2674800" cy="246221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432198" y="4356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33205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3320598" y="1800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3320598" y="4077169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3320598" y="4356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DESCRIPTION Placeholder 5"/>
          <p:cNvSpPr>
            <a:spLocks noGrp="1"/>
          </p:cNvSpPr>
          <p:nvPr>
            <p:ph type="body" sz="quarter" idx="79" hasCustomPrompt="1"/>
          </p:nvPr>
        </p:nvSpPr>
        <p:spPr>
          <a:xfrm>
            <a:off x="6208997" y="1522800"/>
            <a:ext cx="5563199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28" name="CONTENT Placeholder 5"/>
          <p:cNvSpPr>
            <a:spLocks noGrp="1"/>
          </p:cNvSpPr>
          <p:nvPr>
            <p:ph sz="quarter" idx="80"/>
          </p:nvPr>
        </p:nvSpPr>
        <p:spPr>
          <a:xfrm>
            <a:off x="6208997" y="1800000"/>
            <a:ext cx="5563199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0" name="DESCRIPTION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6208997" y="4077169"/>
            <a:ext cx="5563199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33" name="CONTENT Placeholder 6"/>
          <p:cNvSpPr>
            <a:spLocks noGrp="1"/>
          </p:cNvSpPr>
          <p:nvPr>
            <p:ph sz="quarter" idx="82"/>
          </p:nvPr>
        </p:nvSpPr>
        <p:spPr>
          <a:xfrm>
            <a:off x="6208997" y="4356000"/>
            <a:ext cx="5563199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432198" y="6955200"/>
            <a:ext cx="20880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0840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957">
          <p15:clr>
            <a:srgbClr val="F26B43"/>
          </p15:clr>
        </p15:guide>
        <p15:guide id="2" orient="horz" pos="292">
          <p15:clr>
            <a:srgbClr val="F26B43"/>
          </p15:clr>
        </p15:guide>
        <p15:guide id="3" orient="horz" pos="4178">
          <p15:clr>
            <a:srgbClr val="F26B43"/>
          </p15:clr>
        </p15:guide>
        <p15:guide id="4" pos="3911">
          <p15:clr>
            <a:srgbClr val="F26B43"/>
          </p15:clr>
        </p15:guide>
        <p15:guide id="5" pos="2092">
          <p15:clr>
            <a:srgbClr val="F26B43"/>
          </p15:clr>
        </p15:guide>
        <p15:guide id="6" pos="3778">
          <p15:clr>
            <a:srgbClr val="F26B43"/>
          </p15:clr>
        </p15:guide>
        <p15:guide id="7" orient="horz" pos="958">
          <p15:clr>
            <a:srgbClr val="F26B43"/>
          </p15:clr>
        </p15:guide>
        <p15:guide id="8" orient="horz" pos="2743">
          <p15:clr>
            <a:srgbClr val="F26B43"/>
          </p15:clr>
        </p15:guide>
        <p15:guide id="9" orient="horz" pos="410">
          <p15:clr>
            <a:srgbClr val="F26B43"/>
          </p15:clr>
        </p15:guide>
        <p15:guide id="10" orient="horz" pos="4258">
          <p15:clr>
            <a:srgbClr val="F26B43"/>
          </p15:clr>
        </p15:guide>
        <p15:guide id="11" orient="horz" pos="2724">
          <p15:clr>
            <a:srgbClr val="F26B43"/>
          </p15:clr>
        </p15:guide>
        <p15:guide id="12" orient="horz" pos="2568">
          <p15:clr>
            <a:srgbClr val="F26B43"/>
          </p15:clr>
        </p15:guide>
        <p15:guide id="13" orient="horz" pos="2428">
          <p15:clr>
            <a:srgbClr val="F26B43"/>
          </p15:clr>
        </p15:guide>
        <p15:guide id="14" orient="horz" pos="1115">
          <p15:clr>
            <a:srgbClr val="F26B43"/>
          </p15:clr>
        </p15:guide>
        <p15:guide id="15" orient="horz" pos="1133" userDrawn="1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432198" y="4077169"/>
            <a:ext cx="2674800" cy="246221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432198" y="4356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DESCRIPTION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33205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76"/>
          </p:nvPr>
        </p:nvSpPr>
        <p:spPr>
          <a:xfrm>
            <a:off x="3320598" y="1800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DESCRIPTION Placeholder 4"/>
          <p:cNvSpPr>
            <a:spLocks noGrp="1"/>
          </p:cNvSpPr>
          <p:nvPr>
            <p:ph type="body" sz="quarter" idx="77" hasCustomPrompt="1"/>
          </p:nvPr>
        </p:nvSpPr>
        <p:spPr>
          <a:xfrm>
            <a:off x="3320598" y="4077169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78"/>
          </p:nvPr>
        </p:nvSpPr>
        <p:spPr>
          <a:xfrm>
            <a:off x="3320598" y="4356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DESCRIPTION Placeholder 5"/>
          <p:cNvSpPr>
            <a:spLocks noGrp="1"/>
          </p:cNvSpPr>
          <p:nvPr>
            <p:ph type="body" sz="quarter" idx="79" hasCustomPrompt="1"/>
          </p:nvPr>
        </p:nvSpPr>
        <p:spPr>
          <a:xfrm>
            <a:off x="62089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28" name="CONTENT Placeholder 5"/>
          <p:cNvSpPr>
            <a:spLocks noGrp="1"/>
          </p:cNvSpPr>
          <p:nvPr>
            <p:ph sz="quarter" idx="80"/>
          </p:nvPr>
        </p:nvSpPr>
        <p:spPr>
          <a:xfrm>
            <a:off x="6208998" y="1800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0" name="DESCRIPTION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6208998" y="4077169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33" name="CONTENT Placeholder 6"/>
          <p:cNvSpPr>
            <a:spLocks noGrp="1"/>
          </p:cNvSpPr>
          <p:nvPr>
            <p:ph sz="quarter" idx="82"/>
          </p:nvPr>
        </p:nvSpPr>
        <p:spPr>
          <a:xfrm>
            <a:off x="6208998" y="4356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5" name="DESCRIPTION Placeholder 7"/>
          <p:cNvSpPr>
            <a:spLocks noGrp="1"/>
          </p:cNvSpPr>
          <p:nvPr>
            <p:ph type="body" sz="quarter" idx="83" hasCustomPrompt="1"/>
          </p:nvPr>
        </p:nvSpPr>
        <p:spPr>
          <a:xfrm>
            <a:off x="9097398" y="1522800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37" name="CONTENT Placeholder 7"/>
          <p:cNvSpPr>
            <a:spLocks noGrp="1"/>
          </p:cNvSpPr>
          <p:nvPr>
            <p:ph sz="quarter" idx="84"/>
          </p:nvPr>
        </p:nvSpPr>
        <p:spPr>
          <a:xfrm>
            <a:off x="9097398" y="1800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0" name="DESCRIPTION Placeholder 8"/>
          <p:cNvSpPr>
            <a:spLocks noGrp="1"/>
          </p:cNvSpPr>
          <p:nvPr>
            <p:ph type="body" sz="quarter" idx="85" hasCustomPrompt="1"/>
          </p:nvPr>
        </p:nvSpPr>
        <p:spPr>
          <a:xfrm>
            <a:off x="9097398" y="4077169"/>
            <a:ext cx="2674800" cy="246221"/>
          </a:xfrm>
        </p:spPr>
        <p:txBody>
          <a:bodyPr bIns="0">
            <a:noAutofit/>
          </a:bodyPr>
          <a:lstStyle>
            <a:lvl1pPr marL="0" indent="0"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43" name="CONTENT Placeholder 8"/>
          <p:cNvSpPr>
            <a:spLocks noGrp="1"/>
          </p:cNvSpPr>
          <p:nvPr>
            <p:ph sz="quarter" idx="86"/>
          </p:nvPr>
        </p:nvSpPr>
        <p:spPr>
          <a:xfrm>
            <a:off x="9097398" y="4356000"/>
            <a:ext cx="26748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432198" y="6955200"/>
            <a:ext cx="20880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09346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957" userDrawn="1">
          <p15:clr>
            <a:srgbClr val="F26B43"/>
          </p15:clr>
        </p15:guide>
        <p15:guide id="3" orient="horz" pos="292" userDrawn="1">
          <p15:clr>
            <a:srgbClr val="F26B43"/>
          </p15:clr>
        </p15:guide>
        <p15:guide id="4" orient="horz" pos="4178" userDrawn="1">
          <p15:clr>
            <a:srgbClr val="F26B43"/>
          </p15:clr>
        </p15:guide>
        <p15:guide id="5" pos="3911" userDrawn="1">
          <p15:clr>
            <a:srgbClr val="F26B43"/>
          </p15:clr>
        </p15:guide>
        <p15:guide id="7" pos="2092" userDrawn="1">
          <p15:clr>
            <a:srgbClr val="F26B43"/>
          </p15:clr>
        </p15:guide>
        <p15:guide id="8" pos="3778" userDrawn="1">
          <p15:clr>
            <a:srgbClr val="F26B43"/>
          </p15:clr>
        </p15:guide>
        <p15:guide id="9" pos="5597" userDrawn="1">
          <p15:clr>
            <a:srgbClr val="F26B43"/>
          </p15:clr>
        </p15:guide>
        <p15:guide id="10" pos="5730" userDrawn="1">
          <p15:clr>
            <a:srgbClr val="F26B43"/>
          </p15:clr>
        </p15:guide>
        <p15:guide id="13" orient="horz" pos="958" userDrawn="1">
          <p15:clr>
            <a:srgbClr val="F26B43"/>
          </p15:clr>
        </p15:guide>
        <p15:guide id="14" orient="horz" pos="2743" userDrawn="1">
          <p15:clr>
            <a:srgbClr val="F26B43"/>
          </p15:clr>
        </p15:guide>
        <p15:guide id="16" orient="horz" pos="410" userDrawn="1">
          <p15:clr>
            <a:srgbClr val="F26B43"/>
          </p15:clr>
        </p15:guide>
        <p15:guide id="18" orient="horz" pos="4258" userDrawn="1">
          <p15:clr>
            <a:srgbClr val="F26B43"/>
          </p15:clr>
        </p15:guide>
        <p15:guide id="19" orient="horz" pos="2724" userDrawn="1">
          <p15:clr>
            <a:srgbClr val="F26B43"/>
          </p15:clr>
        </p15:guide>
        <p15:guide id="20" orient="horz" pos="2568" userDrawn="1">
          <p15:clr>
            <a:srgbClr val="F26B43"/>
          </p15:clr>
        </p15:guide>
        <p15:guide id="21" orient="horz" pos="2428" userDrawn="1">
          <p15:clr>
            <a:srgbClr val="F26B43"/>
          </p15:clr>
        </p15:guide>
        <p15:guide id="22" orient="horz" pos="1115" userDrawn="1">
          <p15:clr>
            <a:srgbClr val="F26B43"/>
          </p15:clr>
        </p15:guide>
        <p15:guide id="24" orient="horz" pos="1133" userDrawn="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– (Dark)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7404000" y="0"/>
            <a:ext cx="478800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6696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6696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1799" y="1522800"/>
            <a:ext cx="6696000" cy="246221"/>
          </a:xfrm>
        </p:spPr>
        <p:txBody>
          <a:bodyPr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1798" y="1800000"/>
            <a:ext cx="6696001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6695601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2460000" y="-322444"/>
            <a:ext cx="7272000" cy="289506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600"/>
              </a:spcBef>
              <a:buClr>
                <a:srgbClr val="003755"/>
              </a:buClr>
              <a:buFontTx/>
              <a:buNone/>
            </a:pPr>
            <a:r>
              <a:rPr lang="en-GB" sz="1200" dirty="0" smtClean="0">
                <a:solidFill>
                  <a:srgbClr val="E65A6D"/>
                </a:solidFill>
              </a:rPr>
              <a:t>Use this layout page when you have</a:t>
            </a:r>
            <a:r>
              <a:rPr lang="en-GB" sz="1200" baseline="0" dirty="0" smtClean="0">
                <a:solidFill>
                  <a:srgbClr val="E65A6D"/>
                </a:solidFill>
              </a:rPr>
              <a:t> a picture that is </a:t>
            </a:r>
            <a:r>
              <a:rPr lang="en-GB" sz="1200" b="1" baseline="0" dirty="0" smtClean="0">
                <a:solidFill>
                  <a:srgbClr val="E65A6D"/>
                </a:solidFill>
              </a:rPr>
              <a:t>dark</a:t>
            </a:r>
            <a:r>
              <a:rPr lang="en-GB" sz="1200" baseline="0" dirty="0" smtClean="0">
                <a:solidFill>
                  <a:srgbClr val="E65A6D"/>
                </a:solidFill>
              </a:rPr>
              <a:t>. The logo is different when the picture is very light.</a:t>
            </a:r>
            <a:endParaRPr lang="en-GB" sz="1200" dirty="0">
              <a:solidFill>
                <a:srgbClr val="E65A6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3516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0" userDrawn="1">
          <p15:clr>
            <a:srgbClr val="F26B43"/>
          </p15:clr>
        </p15:guide>
        <p15:guide id="2" orient="horz" pos="293">
          <p15:clr>
            <a:srgbClr val="F26B43"/>
          </p15:clr>
        </p15:guide>
        <p15:guide id="8" orient="horz" pos="1115" userDrawn="1">
          <p15:clr>
            <a:srgbClr val="F26B43"/>
          </p15:clr>
        </p15:guide>
        <p15:guide id="11" orient="horz" pos="4178" userDrawn="1">
          <p15:clr>
            <a:srgbClr val="F26B43"/>
          </p15:clr>
        </p15:guide>
        <p15:guide id="12" orient="horz" pos="4258" userDrawn="1">
          <p15:clr>
            <a:srgbClr val="F26B43"/>
          </p15:clr>
        </p15:guide>
        <p15:guide id="13" pos="4495" userDrawn="1">
          <p15:clr>
            <a:srgbClr val="F26B43"/>
          </p15:clr>
        </p15:guide>
        <p15:guide id="14" orient="horz" pos="1133" userDrawn="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– Midnight blue">
    <p:bg>
      <p:bgPr>
        <a:solidFill>
          <a:srgbClr val="0037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PATTERN"/>
          <p:cNvGrpSpPr>
            <a:grpSpLocks noChangeAspect="1"/>
          </p:cNvGrpSpPr>
          <p:nvPr userDrawn="1"/>
        </p:nvGrpSpPr>
        <p:grpSpPr bwMode="auto">
          <a:xfrm>
            <a:off x="1588" y="0"/>
            <a:ext cx="12188825" cy="6858000"/>
            <a:chOff x="1" y="0"/>
            <a:chExt cx="7678" cy="4320"/>
          </a:xfrm>
          <a:solidFill>
            <a:srgbClr val="002A44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auto">
            <a:xfrm>
              <a:off x="2150" y="0"/>
              <a:ext cx="3003" cy="4320"/>
            </a:xfrm>
            <a:custGeom>
              <a:avLst/>
              <a:gdLst>
                <a:gd name="T0" fmla="*/ 2979 w 3003"/>
                <a:gd name="T1" fmla="*/ 3126 h 4320"/>
                <a:gd name="T2" fmla="*/ 2546 w 3003"/>
                <a:gd name="T3" fmla="*/ 2437 h 4320"/>
                <a:gd name="T4" fmla="*/ 3003 w 3003"/>
                <a:gd name="T5" fmla="*/ 1850 h 4320"/>
                <a:gd name="T6" fmla="*/ 2778 w 3003"/>
                <a:gd name="T7" fmla="*/ 1690 h 4320"/>
                <a:gd name="T8" fmla="*/ 2137 w 3003"/>
                <a:gd name="T9" fmla="*/ 2195 h 4320"/>
                <a:gd name="T10" fmla="*/ 1575 w 3003"/>
                <a:gd name="T11" fmla="*/ 1682 h 4320"/>
                <a:gd name="T12" fmla="*/ 1262 w 3003"/>
                <a:gd name="T13" fmla="*/ 968 h 4320"/>
                <a:gd name="T14" fmla="*/ 2540 w 3003"/>
                <a:gd name="T15" fmla="*/ 0 h 4320"/>
                <a:gd name="T16" fmla="*/ 1897 w 3003"/>
                <a:gd name="T17" fmla="*/ 0 h 4320"/>
                <a:gd name="T18" fmla="*/ 564 w 3003"/>
                <a:gd name="T19" fmla="*/ 872 h 4320"/>
                <a:gd name="T20" fmla="*/ 1054 w 3003"/>
                <a:gd name="T21" fmla="*/ 2027 h 4320"/>
                <a:gd name="T22" fmla="*/ 1284 w 3003"/>
                <a:gd name="T23" fmla="*/ 2426 h 4320"/>
                <a:gd name="T24" fmla="*/ 0 w 3003"/>
                <a:gd name="T25" fmla="*/ 4320 h 4320"/>
                <a:gd name="T26" fmla="*/ 649 w 3003"/>
                <a:gd name="T27" fmla="*/ 4320 h 4320"/>
                <a:gd name="T28" fmla="*/ 1896 w 3003"/>
                <a:gd name="T29" fmla="*/ 2677 h 4320"/>
                <a:gd name="T30" fmla="*/ 2321 w 3003"/>
                <a:gd name="T31" fmla="*/ 3134 h 4320"/>
                <a:gd name="T32" fmla="*/ 1139 w 3003"/>
                <a:gd name="T33" fmla="*/ 4320 h 4320"/>
                <a:gd name="T34" fmla="*/ 2027 w 3003"/>
                <a:gd name="T35" fmla="*/ 4320 h 4320"/>
                <a:gd name="T36" fmla="*/ 2979 w 3003"/>
                <a:gd name="T37" fmla="*/ 3126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03" h="4320">
                  <a:moveTo>
                    <a:pt x="2979" y="3126"/>
                  </a:moveTo>
                  <a:cubicBezTo>
                    <a:pt x="2979" y="2796"/>
                    <a:pt x="2839" y="2562"/>
                    <a:pt x="2546" y="2437"/>
                  </a:cubicBezTo>
                  <a:cubicBezTo>
                    <a:pt x="2708" y="2297"/>
                    <a:pt x="2852" y="2100"/>
                    <a:pt x="3003" y="1850"/>
                  </a:cubicBezTo>
                  <a:cubicBezTo>
                    <a:pt x="2778" y="1690"/>
                    <a:pt x="2778" y="1690"/>
                    <a:pt x="2778" y="1690"/>
                  </a:cubicBezTo>
                  <a:cubicBezTo>
                    <a:pt x="2538" y="2003"/>
                    <a:pt x="2353" y="2195"/>
                    <a:pt x="2137" y="2195"/>
                  </a:cubicBezTo>
                  <a:cubicBezTo>
                    <a:pt x="1912" y="2195"/>
                    <a:pt x="1744" y="2075"/>
                    <a:pt x="1575" y="1682"/>
                  </a:cubicBezTo>
                  <a:cubicBezTo>
                    <a:pt x="1262" y="968"/>
                    <a:pt x="1262" y="968"/>
                    <a:pt x="1262" y="968"/>
                  </a:cubicBezTo>
                  <a:cubicBezTo>
                    <a:pt x="1772" y="759"/>
                    <a:pt x="2314" y="448"/>
                    <a:pt x="2540" y="0"/>
                  </a:cubicBezTo>
                  <a:cubicBezTo>
                    <a:pt x="1897" y="0"/>
                    <a:pt x="1897" y="0"/>
                    <a:pt x="1897" y="0"/>
                  </a:cubicBezTo>
                  <a:cubicBezTo>
                    <a:pt x="1698" y="356"/>
                    <a:pt x="1202" y="651"/>
                    <a:pt x="564" y="872"/>
                  </a:cubicBezTo>
                  <a:cubicBezTo>
                    <a:pt x="1054" y="2027"/>
                    <a:pt x="1054" y="2027"/>
                    <a:pt x="1054" y="2027"/>
                  </a:cubicBezTo>
                  <a:cubicBezTo>
                    <a:pt x="1126" y="2198"/>
                    <a:pt x="1200" y="2329"/>
                    <a:pt x="1284" y="2426"/>
                  </a:cubicBezTo>
                  <a:cubicBezTo>
                    <a:pt x="491" y="2686"/>
                    <a:pt x="104" y="3451"/>
                    <a:pt x="0" y="4320"/>
                  </a:cubicBezTo>
                  <a:cubicBezTo>
                    <a:pt x="649" y="4320"/>
                    <a:pt x="649" y="4320"/>
                    <a:pt x="649" y="4320"/>
                  </a:cubicBezTo>
                  <a:cubicBezTo>
                    <a:pt x="752" y="3569"/>
                    <a:pt x="1054" y="2677"/>
                    <a:pt x="1896" y="2677"/>
                  </a:cubicBezTo>
                  <a:cubicBezTo>
                    <a:pt x="2241" y="2677"/>
                    <a:pt x="2321" y="2877"/>
                    <a:pt x="2321" y="3134"/>
                  </a:cubicBezTo>
                  <a:cubicBezTo>
                    <a:pt x="2321" y="3618"/>
                    <a:pt x="1938" y="4012"/>
                    <a:pt x="1139" y="4320"/>
                  </a:cubicBezTo>
                  <a:cubicBezTo>
                    <a:pt x="2027" y="4320"/>
                    <a:pt x="2027" y="4320"/>
                    <a:pt x="2027" y="4320"/>
                  </a:cubicBezTo>
                  <a:cubicBezTo>
                    <a:pt x="2605" y="4003"/>
                    <a:pt x="2979" y="3593"/>
                    <a:pt x="2979" y="3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1" y="0"/>
              <a:ext cx="1451" cy="1353"/>
            </a:xfrm>
            <a:custGeom>
              <a:avLst/>
              <a:gdLst>
                <a:gd name="T0" fmla="*/ 1451 w 1451"/>
                <a:gd name="T1" fmla="*/ 527 h 1353"/>
                <a:gd name="T2" fmla="*/ 1227 w 1451"/>
                <a:gd name="T3" fmla="*/ 367 h 1353"/>
                <a:gd name="T4" fmla="*/ 585 w 1451"/>
                <a:gd name="T5" fmla="*/ 872 h 1353"/>
                <a:gd name="T6" fmla="*/ 424 w 1451"/>
                <a:gd name="T7" fmla="*/ 287 h 1353"/>
                <a:gd name="T8" fmla="*/ 473 w 1451"/>
                <a:gd name="T9" fmla="*/ 0 h 1353"/>
                <a:gd name="T10" fmla="*/ 0 w 1451"/>
                <a:gd name="T11" fmla="*/ 0 h 1353"/>
                <a:gd name="T12" fmla="*/ 0 w 1451"/>
                <a:gd name="T13" fmla="*/ 1254 h 1353"/>
                <a:gd name="T14" fmla="*/ 344 w 1451"/>
                <a:gd name="T15" fmla="*/ 1353 h 1353"/>
                <a:gd name="T16" fmla="*/ 1451 w 1451"/>
                <a:gd name="T17" fmla="*/ 527 h 1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1" h="1353">
                  <a:moveTo>
                    <a:pt x="1451" y="527"/>
                  </a:moveTo>
                  <a:cubicBezTo>
                    <a:pt x="1227" y="367"/>
                    <a:pt x="1227" y="367"/>
                    <a:pt x="1227" y="367"/>
                  </a:cubicBezTo>
                  <a:cubicBezTo>
                    <a:pt x="986" y="680"/>
                    <a:pt x="801" y="872"/>
                    <a:pt x="585" y="872"/>
                  </a:cubicBezTo>
                  <a:cubicBezTo>
                    <a:pt x="384" y="872"/>
                    <a:pt x="344" y="760"/>
                    <a:pt x="424" y="287"/>
                  </a:cubicBezTo>
                  <a:cubicBezTo>
                    <a:pt x="473" y="0"/>
                    <a:pt x="473" y="0"/>
                    <a:pt x="4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4"/>
                    <a:pt x="0" y="1254"/>
                    <a:pt x="0" y="1254"/>
                  </a:cubicBezTo>
                  <a:cubicBezTo>
                    <a:pt x="81" y="1318"/>
                    <a:pt x="194" y="1353"/>
                    <a:pt x="344" y="1353"/>
                  </a:cubicBezTo>
                  <a:cubicBezTo>
                    <a:pt x="842" y="1353"/>
                    <a:pt x="1130" y="1057"/>
                    <a:pt x="1451" y="5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1" y="0"/>
              <a:ext cx="2600" cy="4320"/>
            </a:xfrm>
            <a:custGeom>
              <a:avLst/>
              <a:gdLst>
                <a:gd name="T0" fmla="*/ 363 w 2601"/>
                <a:gd name="T1" fmla="*/ 2850 h 4320"/>
                <a:gd name="T2" fmla="*/ 932 w 2601"/>
                <a:gd name="T3" fmla="*/ 2297 h 4320"/>
                <a:gd name="T4" fmla="*/ 1526 w 2601"/>
                <a:gd name="T5" fmla="*/ 2978 h 4320"/>
                <a:gd name="T6" fmla="*/ 1790 w 2601"/>
                <a:gd name="T7" fmla="*/ 2938 h 4320"/>
                <a:gd name="T8" fmla="*/ 2025 w 2601"/>
                <a:gd name="T9" fmla="*/ 2604 h 4320"/>
                <a:gd name="T10" fmla="*/ 2321 w 2601"/>
                <a:gd name="T11" fmla="*/ 776 h 4320"/>
                <a:gd name="T12" fmla="*/ 2601 w 2601"/>
                <a:gd name="T13" fmla="*/ 0 h 4320"/>
                <a:gd name="T14" fmla="*/ 1868 w 2601"/>
                <a:gd name="T15" fmla="*/ 0 h 4320"/>
                <a:gd name="T16" fmla="*/ 1540 w 2601"/>
                <a:gd name="T17" fmla="*/ 1994 h 4320"/>
                <a:gd name="T18" fmla="*/ 1020 w 2601"/>
                <a:gd name="T19" fmla="*/ 1928 h 4320"/>
                <a:gd name="T20" fmla="*/ 0 w 2601"/>
                <a:gd name="T21" fmla="*/ 2418 h 4320"/>
                <a:gd name="T22" fmla="*/ 0 w 2601"/>
                <a:gd name="T23" fmla="*/ 3576 h 4320"/>
                <a:gd name="T24" fmla="*/ 990 w 2601"/>
                <a:gd name="T25" fmla="*/ 4320 h 4320"/>
                <a:gd name="T26" fmla="*/ 1740 w 2601"/>
                <a:gd name="T27" fmla="*/ 4320 h 4320"/>
                <a:gd name="T28" fmla="*/ 363 w 2601"/>
                <a:gd name="T29" fmla="*/ 285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01" h="4320">
                  <a:moveTo>
                    <a:pt x="363" y="2850"/>
                  </a:moveTo>
                  <a:cubicBezTo>
                    <a:pt x="363" y="2601"/>
                    <a:pt x="531" y="2297"/>
                    <a:pt x="932" y="2297"/>
                  </a:cubicBezTo>
                  <a:cubicBezTo>
                    <a:pt x="1293" y="2297"/>
                    <a:pt x="1526" y="2505"/>
                    <a:pt x="1526" y="2978"/>
                  </a:cubicBezTo>
                  <a:cubicBezTo>
                    <a:pt x="1790" y="2938"/>
                    <a:pt x="1790" y="2938"/>
                    <a:pt x="1790" y="2938"/>
                  </a:cubicBezTo>
                  <a:cubicBezTo>
                    <a:pt x="1894" y="2883"/>
                    <a:pt x="1999" y="2761"/>
                    <a:pt x="2025" y="2604"/>
                  </a:cubicBezTo>
                  <a:cubicBezTo>
                    <a:pt x="2321" y="776"/>
                    <a:pt x="2321" y="776"/>
                    <a:pt x="2321" y="776"/>
                  </a:cubicBezTo>
                  <a:cubicBezTo>
                    <a:pt x="2368" y="491"/>
                    <a:pt x="2465" y="226"/>
                    <a:pt x="2601" y="0"/>
                  </a:cubicBezTo>
                  <a:cubicBezTo>
                    <a:pt x="1868" y="0"/>
                    <a:pt x="1868" y="0"/>
                    <a:pt x="1868" y="0"/>
                  </a:cubicBezTo>
                  <a:cubicBezTo>
                    <a:pt x="1540" y="1994"/>
                    <a:pt x="1540" y="1994"/>
                    <a:pt x="1540" y="1994"/>
                  </a:cubicBezTo>
                  <a:cubicBezTo>
                    <a:pt x="1393" y="1950"/>
                    <a:pt x="1217" y="1928"/>
                    <a:pt x="1020" y="1928"/>
                  </a:cubicBezTo>
                  <a:cubicBezTo>
                    <a:pt x="529" y="1928"/>
                    <a:pt x="189" y="2127"/>
                    <a:pt x="0" y="2418"/>
                  </a:cubicBezTo>
                  <a:cubicBezTo>
                    <a:pt x="0" y="3576"/>
                    <a:pt x="0" y="3576"/>
                    <a:pt x="0" y="3576"/>
                  </a:cubicBezTo>
                  <a:cubicBezTo>
                    <a:pt x="251" y="3907"/>
                    <a:pt x="714" y="4057"/>
                    <a:pt x="990" y="4320"/>
                  </a:cubicBezTo>
                  <a:cubicBezTo>
                    <a:pt x="1740" y="4320"/>
                    <a:pt x="1740" y="4320"/>
                    <a:pt x="1740" y="4320"/>
                  </a:cubicBezTo>
                  <a:cubicBezTo>
                    <a:pt x="1472" y="3647"/>
                    <a:pt x="363" y="3506"/>
                    <a:pt x="363" y="28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5259" y="0"/>
              <a:ext cx="2420" cy="4320"/>
            </a:xfrm>
            <a:custGeom>
              <a:avLst/>
              <a:gdLst>
                <a:gd name="T0" fmla="*/ 2303 w 2421"/>
                <a:gd name="T1" fmla="*/ 0 h 4320"/>
                <a:gd name="T2" fmla="*/ 658 w 2421"/>
                <a:gd name="T3" fmla="*/ 1073 h 4320"/>
                <a:gd name="T4" fmla="*/ 920 w 2421"/>
                <a:gd name="T5" fmla="*/ 0 h 4320"/>
                <a:gd name="T6" fmla="*/ 268 w 2421"/>
                <a:gd name="T7" fmla="*/ 0 h 4320"/>
                <a:gd name="T8" fmla="*/ 0 w 2421"/>
                <a:gd name="T9" fmla="*/ 1410 h 4320"/>
                <a:gd name="T10" fmla="*/ 656 w 2421"/>
                <a:gd name="T11" fmla="*/ 2690 h 4320"/>
                <a:gd name="T12" fmla="*/ 270 w 2421"/>
                <a:gd name="T13" fmla="*/ 3541 h 4320"/>
                <a:gd name="T14" fmla="*/ 692 w 2421"/>
                <a:gd name="T15" fmla="*/ 4320 h 4320"/>
                <a:gd name="T16" fmla="*/ 1749 w 2421"/>
                <a:gd name="T17" fmla="*/ 4320 h 4320"/>
                <a:gd name="T18" fmla="*/ 808 w 2421"/>
                <a:gd name="T19" fmla="*/ 3356 h 4320"/>
                <a:gd name="T20" fmla="*/ 1377 w 2421"/>
                <a:gd name="T21" fmla="*/ 2803 h 4320"/>
                <a:gd name="T22" fmla="*/ 1971 w 2421"/>
                <a:gd name="T23" fmla="*/ 3484 h 4320"/>
                <a:gd name="T24" fmla="*/ 2236 w 2421"/>
                <a:gd name="T25" fmla="*/ 3444 h 4320"/>
                <a:gd name="T26" fmla="*/ 2421 w 2421"/>
                <a:gd name="T27" fmla="*/ 3254 h 4320"/>
                <a:gd name="T28" fmla="*/ 2421 w 2421"/>
                <a:gd name="T29" fmla="*/ 2808 h 4320"/>
                <a:gd name="T30" fmla="*/ 2145 w 2421"/>
                <a:gd name="T31" fmla="*/ 2561 h 4320"/>
                <a:gd name="T32" fmla="*/ 2421 w 2421"/>
                <a:gd name="T33" fmla="*/ 2333 h 4320"/>
                <a:gd name="T34" fmla="*/ 2421 w 2421"/>
                <a:gd name="T35" fmla="*/ 1869 h 4320"/>
                <a:gd name="T36" fmla="*/ 1404 w 2421"/>
                <a:gd name="T37" fmla="*/ 2332 h 4320"/>
                <a:gd name="T38" fmla="*/ 642 w 2421"/>
                <a:gd name="T39" fmla="*/ 1410 h 4320"/>
                <a:gd name="T40" fmla="*/ 2421 w 2421"/>
                <a:gd name="T41" fmla="*/ 670 h 4320"/>
                <a:gd name="T42" fmla="*/ 2421 w 2421"/>
                <a:gd name="T43" fmla="*/ 0 h 4320"/>
                <a:gd name="T44" fmla="*/ 2303 w 2421"/>
                <a:gd name="T45" fmla="*/ 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21" h="4320">
                  <a:moveTo>
                    <a:pt x="2303" y="0"/>
                  </a:moveTo>
                  <a:cubicBezTo>
                    <a:pt x="2148" y="444"/>
                    <a:pt x="1610" y="800"/>
                    <a:pt x="658" y="1073"/>
                  </a:cubicBezTo>
                  <a:cubicBezTo>
                    <a:pt x="694" y="728"/>
                    <a:pt x="768" y="333"/>
                    <a:pt x="920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82" y="414"/>
                    <a:pt x="0" y="907"/>
                    <a:pt x="0" y="1410"/>
                  </a:cubicBezTo>
                  <a:cubicBezTo>
                    <a:pt x="0" y="2100"/>
                    <a:pt x="240" y="2507"/>
                    <a:pt x="656" y="2690"/>
                  </a:cubicBezTo>
                  <a:cubicBezTo>
                    <a:pt x="399" y="2897"/>
                    <a:pt x="270" y="3209"/>
                    <a:pt x="270" y="3541"/>
                  </a:cubicBezTo>
                  <a:cubicBezTo>
                    <a:pt x="270" y="3916"/>
                    <a:pt x="456" y="4143"/>
                    <a:pt x="692" y="4320"/>
                  </a:cubicBezTo>
                  <a:cubicBezTo>
                    <a:pt x="1749" y="4320"/>
                    <a:pt x="1749" y="4320"/>
                    <a:pt x="1749" y="4320"/>
                  </a:cubicBezTo>
                  <a:cubicBezTo>
                    <a:pt x="1333" y="4015"/>
                    <a:pt x="808" y="3807"/>
                    <a:pt x="808" y="3356"/>
                  </a:cubicBezTo>
                  <a:cubicBezTo>
                    <a:pt x="808" y="3107"/>
                    <a:pt x="976" y="2803"/>
                    <a:pt x="1377" y="2803"/>
                  </a:cubicBezTo>
                  <a:cubicBezTo>
                    <a:pt x="1738" y="2803"/>
                    <a:pt x="1971" y="3011"/>
                    <a:pt x="1971" y="3484"/>
                  </a:cubicBezTo>
                  <a:cubicBezTo>
                    <a:pt x="2236" y="3444"/>
                    <a:pt x="2236" y="3444"/>
                    <a:pt x="2236" y="3444"/>
                  </a:cubicBezTo>
                  <a:cubicBezTo>
                    <a:pt x="2305" y="3407"/>
                    <a:pt x="2375" y="3340"/>
                    <a:pt x="2421" y="3254"/>
                  </a:cubicBezTo>
                  <a:cubicBezTo>
                    <a:pt x="2421" y="2808"/>
                    <a:pt x="2421" y="2808"/>
                    <a:pt x="2421" y="2808"/>
                  </a:cubicBezTo>
                  <a:cubicBezTo>
                    <a:pt x="2366" y="2706"/>
                    <a:pt x="2272" y="2623"/>
                    <a:pt x="2145" y="2561"/>
                  </a:cubicBezTo>
                  <a:cubicBezTo>
                    <a:pt x="2248" y="2495"/>
                    <a:pt x="2339" y="2418"/>
                    <a:pt x="2421" y="2333"/>
                  </a:cubicBezTo>
                  <a:cubicBezTo>
                    <a:pt x="2421" y="1869"/>
                    <a:pt x="2421" y="1869"/>
                    <a:pt x="2421" y="1869"/>
                  </a:cubicBezTo>
                  <a:cubicBezTo>
                    <a:pt x="2165" y="2166"/>
                    <a:pt x="1799" y="2332"/>
                    <a:pt x="1404" y="2332"/>
                  </a:cubicBezTo>
                  <a:cubicBezTo>
                    <a:pt x="923" y="2332"/>
                    <a:pt x="642" y="2115"/>
                    <a:pt x="642" y="1410"/>
                  </a:cubicBezTo>
                  <a:cubicBezTo>
                    <a:pt x="1351" y="1253"/>
                    <a:pt x="1987" y="997"/>
                    <a:pt x="2421" y="670"/>
                  </a:cubicBezTo>
                  <a:cubicBezTo>
                    <a:pt x="2421" y="0"/>
                    <a:pt x="2421" y="0"/>
                    <a:pt x="2421" y="0"/>
                  </a:cubicBezTo>
                  <a:lnTo>
                    <a:pt x="23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31800" y="4074530"/>
            <a:ext cx="11340000" cy="900000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add presentation title – subtitle </a:t>
            </a:r>
            <a:br>
              <a:rPr lang="en-GB" dirty="0" smtClean="0"/>
            </a:br>
            <a:r>
              <a:rPr lang="en-GB" dirty="0" smtClean="0"/>
              <a:t>– max. two lines</a:t>
            </a:r>
            <a:endParaRPr lang="en-GB" dirty="0"/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431800" y="5077820"/>
            <a:ext cx="11340000" cy="21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  <a:latin typeface="Danske Text" panose="000004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 smtClean="0"/>
              <a:t>Click to add document type / audience / date [</a:t>
            </a:r>
            <a:r>
              <a:rPr lang="en-GB" dirty="0" err="1" smtClean="0"/>
              <a:t>dd</a:t>
            </a:r>
            <a:r>
              <a:rPr lang="en-GB" dirty="0" smtClean="0"/>
              <a:t> </a:t>
            </a:r>
            <a:r>
              <a:rPr lang="en-GB" dirty="0" err="1" smtClean="0"/>
              <a:t>mmmm</a:t>
            </a:r>
            <a:r>
              <a:rPr lang="en-GB" dirty="0" smtClean="0"/>
              <a:t> </a:t>
            </a:r>
            <a:r>
              <a:rPr lang="en-GB" dirty="0" err="1" smtClean="0"/>
              <a:t>yyyy</a:t>
            </a:r>
            <a:r>
              <a:rPr lang="en-GB" dirty="0" smtClean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26674850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3" orient="horz" pos="3336" userDrawn="1">
          <p15:clr>
            <a:srgbClr val="F26B43"/>
          </p15:clr>
        </p15:guide>
        <p15:guide id="4" orient="horz" pos="2566" userDrawn="1">
          <p15:clr>
            <a:srgbClr val="F26B43"/>
          </p15:clr>
        </p15:guide>
        <p15:guide id="6" orient="horz" pos="3198" userDrawn="1">
          <p15:clr>
            <a:srgbClr val="F26B43"/>
          </p15:clr>
        </p15:guide>
        <p15:guide id="9" orient="horz" pos="3135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– (Light)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7404000" y="0"/>
            <a:ext cx="478800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6696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6696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1799" y="1522800"/>
            <a:ext cx="66960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1798" y="1800000"/>
            <a:ext cx="6696001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6695601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2460000" y="-322444"/>
            <a:ext cx="7272000" cy="289506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600"/>
              </a:spcBef>
              <a:buClr>
                <a:srgbClr val="003755"/>
              </a:buClr>
              <a:buFontTx/>
              <a:buNone/>
            </a:pPr>
            <a:r>
              <a:rPr lang="en-GB" sz="1200" dirty="0" smtClean="0">
                <a:solidFill>
                  <a:srgbClr val="E65A6D"/>
                </a:solidFill>
              </a:rPr>
              <a:t>Use this layout page when you have</a:t>
            </a:r>
            <a:r>
              <a:rPr lang="en-GB" sz="1200" baseline="0" dirty="0" smtClean="0">
                <a:solidFill>
                  <a:srgbClr val="E65A6D"/>
                </a:solidFill>
              </a:rPr>
              <a:t> a picture that is </a:t>
            </a:r>
            <a:r>
              <a:rPr lang="en-GB" sz="1200" b="1" baseline="0" dirty="0" smtClean="0">
                <a:solidFill>
                  <a:srgbClr val="E65A6D"/>
                </a:solidFill>
              </a:rPr>
              <a:t>light</a:t>
            </a:r>
            <a:r>
              <a:rPr lang="en-GB" sz="1200" baseline="0" dirty="0" smtClean="0">
                <a:solidFill>
                  <a:srgbClr val="E65A6D"/>
                </a:solidFill>
              </a:rPr>
              <a:t>. The logo is different when the picture is dark.</a:t>
            </a:r>
            <a:endParaRPr lang="en-GB" sz="1200" dirty="0">
              <a:solidFill>
                <a:srgbClr val="E65A6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37934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0" userDrawn="1">
          <p15:clr>
            <a:srgbClr val="F26B43"/>
          </p15:clr>
        </p15:guide>
        <p15:guide id="2" orient="horz" pos="293">
          <p15:clr>
            <a:srgbClr val="F26B43"/>
          </p15:clr>
        </p15:guide>
        <p15:guide id="8" orient="horz" pos="1115" userDrawn="1">
          <p15:clr>
            <a:srgbClr val="F26B43"/>
          </p15:clr>
        </p15:guide>
        <p15:guide id="11" orient="horz" pos="4178" userDrawn="1">
          <p15:clr>
            <a:srgbClr val="F26B43"/>
          </p15:clr>
        </p15:guide>
        <p15:guide id="12" orient="horz" pos="4258" userDrawn="1">
          <p15:clr>
            <a:srgbClr val="F26B43"/>
          </p15:clr>
        </p15:guide>
        <p15:guide id="13" pos="4495" userDrawn="1">
          <p15:clr>
            <a:srgbClr val="F26B43"/>
          </p15:clr>
        </p15:guide>
        <p15:guide id="14" orient="horz" pos="1133" userDrawn="1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424000" cy="18466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i="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ate Placeholder"/>
          <p:cNvSpPr>
            <a:spLocks noGrp="1"/>
          </p:cNvSpPr>
          <p:nvPr>
            <p:ph type="dt" sz="half" idx="4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1378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6" orient="horz" pos="291" userDrawn="1">
          <p15:clr>
            <a:srgbClr val="F26B43"/>
          </p15:clr>
        </p15:guide>
        <p15:guide id="16" orient="horz" pos="410" userDrawn="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"/>
          <p:cNvSpPr>
            <a:spLocks noGrp="1"/>
          </p:cNvSpPr>
          <p:nvPr>
            <p:ph type="dt" sz="half" idx="4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23478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orient="horz" pos="29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– Midnigh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32000" y="3774863"/>
            <a:ext cx="11340000" cy="936000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en-GB" sz="32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GB" dirty="0" smtClean="0"/>
              <a:t>Click to add section divid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36572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77" userDrawn="1">
          <p15:clr>
            <a:srgbClr val="F26B43"/>
          </p15:clr>
        </p15:guide>
        <p15:guide id="2" orient="horz" pos="2969" userDrawn="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– Sky blue">
    <p:bg>
      <p:bgPr>
        <a:solidFill>
          <a:srgbClr val="D7E9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32000" y="3774863"/>
            <a:ext cx="11340000" cy="936000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en-GB" sz="32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GB" dirty="0" smtClean="0"/>
              <a:t>Click to add section divid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03339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orient="horz" pos="2969" userDrawn="1">
          <p15:clr>
            <a:srgbClr val="F26B43"/>
          </p15:clr>
        </p15:guide>
        <p15:guide id="4" orient="horz" pos="2378" userDrawn="1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– (Dark picture)">
    <p:bg>
      <p:bgPr>
        <a:solidFill>
          <a:srgbClr val="E6E8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r>
              <a:rPr lang="en-US" dirty="0" smtClean="0"/>
              <a:t> </a:t>
            </a:r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32000" y="3774863"/>
            <a:ext cx="11340000" cy="936000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en-GB" sz="32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GB" dirty="0" smtClean="0"/>
              <a:t>Click to add section divider</a:t>
            </a:r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460000" y="-322444"/>
            <a:ext cx="7272000" cy="289506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600"/>
              </a:spcBef>
              <a:buClr>
                <a:srgbClr val="003755"/>
              </a:buClr>
              <a:buFontTx/>
              <a:buNone/>
            </a:pPr>
            <a:r>
              <a:rPr lang="en-GB" sz="1200" dirty="0" smtClean="0">
                <a:solidFill>
                  <a:srgbClr val="E65A6D"/>
                </a:solidFill>
              </a:rPr>
              <a:t>Use this layout page when you have</a:t>
            </a:r>
            <a:r>
              <a:rPr lang="en-GB" sz="1200" baseline="0" dirty="0" smtClean="0">
                <a:solidFill>
                  <a:srgbClr val="E65A6D"/>
                </a:solidFill>
              </a:rPr>
              <a:t> a picture that is </a:t>
            </a:r>
            <a:r>
              <a:rPr lang="en-GB" sz="1200" b="1" baseline="0" dirty="0" smtClean="0">
                <a:solidFill>
                  <a:srgbClr val="E65A6D"/>
                </a:solidFill>
              </a:rPr>
              <a:t>dark</a:t>
            </a:r>
            <a:r>
              <a:rPr lang="en-GB" sz="1200" baseline="0" dirty="0" smtClean="0">
                <a:solidFill>
                  <a:srgbClr val="E65A6D"/>
                </a:solidFill>
              </a:rPr>
              <a:t>. The logo is different when the picture is very light.</a:t>
            </a:r>
            <a:endParaRPr lang="en-GB" sz="1200" dirty="0">
              <a:solidFill>
                <a:srgbClr val="E65A6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88591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969" userDrawn="1">
          <p15:clr>
            <a:srgbClr val="F26B43"/>
          </p15:clr>
        </p15:guide>
        <p15:guide id="2" orient="horz" pos="2378" userDrawn="1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– (Light picture)">
    <p:bg>
      <p:bgPr>
        <a:solidFill>
          <a:srgbClr val="E6E8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32000" y="3774863"/>
            <a:ext cx="11340000" cy="936000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noAutofit/>
          </a:bodyPr>
          <a:lstStyle>
            <a:lvl1pPr>
              <a:defRPr lang="en-GB" sz="32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GB" dirty="0" smtClean="0"/>
              <a:t>Click to add section divider</a:t>
            </a:r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460000" y="-322444"/>
            <a:ext cx="7272000" cy="289506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600"/>
              </a:spcBef>
              <a:buClr>
                <a:srgbClr val="003755"/>
              </a:buClr>
              <a:buFontTx/>
              <a:buNone/>
            </a:pPr>
            <a:r>
              <a:rPr lang="en-GB" sz="1200" dirty="0" smtClean="0">
                <a:solidFill>
                  <a:srgbClr val="E65A6D"/>
                </a:solidFill>
              </a:rPr>
              <a:t>Use this layout page when you have</a:t>
            </a:r>
            <a:r>
              <a:rPr lang="en-GB" sz="1200" baseline="0" dirty="0" smtClean="0">
                <a:solidFill>
                  <a:srgbClr val="E65A6D"/>
                </a:solidFill>
              </a:rPr>
              <a:t> a picture that is </a:t>
            </a:r>
            <a:r>
              <a:rPr lang="en-GB" sz="1200" b="1" baseline="0" dirty="0" smtClean="0">
                <a:solidFill>
                  <a:srgbClr val="E65A6D"/>
                </a:solidFill>
              </a:rPr>
              <a:t>light</a:t>
            </a:r>
            <a:r>
              <a:rPr lang="en-GB" sz="1200" baseline="0" dirty="0" smtClean="0">
                <a:solidFill>
                  <a:srgbClr val="E65A6D"/>
                </a:solidFill>
              </a:rPr>
              <a:t>. The logo is different when the picture is dark.</a:t>
            </a:r>
            <a:endParaRPr lang="en-GB" sz="1200" dirty="0">
              <a:solidFill>
                <a:srgbClr val="E65A6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15217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969" userDrawn="1">
          <p15:clr>
            <a:srgbClr val="F26B43"/>
          </p15:clr>
        </p15:guide>
        <p15:guide id="2" orient="horz" pos="2378" userDrawn="1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ower add-in layout: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ate Placeholder"/>
          <p:cNvSpPr>
            <a:spLocks noGrp="1"/>
          </p:cNvSpPr>
          <p:nvPr>
            <p:ph type="dt" sz="half" idx="4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559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ower add-in layout: Agenda with picture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7404000" y="0"/>
            <a:ext cx="478800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6696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2460000" y="-322444"/>
            <a:ext cx="7272000" cy="289506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600"/>
              </a:spcBef>
              <a:buClr>
                <a:srgbClr val="003755"/>
              </a:buClr>
              <a:buFontTx/>
              <a:buNone/>
            </a:pPr>
            <a:r>
              <a:rPr lang="en-GB" sz="1200" dirty="0" smtClean="0">
                <a:solidFill>
                  <a:srgbClr val="E65A6D"/>
                </a:solidFill>
              </a:rPr>
              <a:t>Use this layout page when you have</a:t>
            </a:r>
            <a:r>
              <a:rPr lang="en-GB" sz="1200" baseline="0" dirty="0" smtClean="0">
                <a:solidFill>
                  <a:srgbClr val="E65A6D"/>
                </a:solidFill>
              </a:rPr>
              <a:t> a picture that is </a:t>
            </a:r>
            <a:r>
              <a:rPr lang="en-GB" sz="1200" b="1" baseline="0" dirty="0" smtClean="0">
                <a:solidFill>
                  <a:srgbClr val="E65A6D"/>
                </a:solidFill>
              </a:rPr>
              <a:t>dark</a:t>
            </a:r>
            <a:r>
              <a:rPr lang="en-GB" sz="1200" baseline="0" dirty="0" smtClean="0">
                <a:solidFill>
                  <a:srgbClr val="E65A6D"/>
                </a:solidFill>
              </a:rPr>
              <a:t>. The logo is different when the picture is very light.</a:t>
            </a:r>
            <a:endParaRPr lang="en-GB" sz="1200" dirty="0">
              <a:solidFill>
                <a:srgbClr val="E65A6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861125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7" pos="4495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ower add-in layout: Agenda with pictur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73" hasCustomPrompt="1"/>
          </p:nvPr>
        </p:nvSpPr>
        <p:spPr>
          <a:xfrm>
            <a:off x="7404000" y="0"/>
            <a:ext cx="4788000" cy="6858000"/>
          </a:xfrm>
          <a:solidFill>
            <a:srgbClr val="EFF0F1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6696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2460000" y="-322444"/>
            <a:ext cx="7272000" cy="289506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600"/>
              </a:spcBef>
              <a:buClr>
                <a:srgbClr val="003755"/>
              </a:buClr>
              <a:buFontTx/>
              <a:buNone/>
            </a:pPr>
            <a:r>
              <a:rPr lang="en-GB" sz="1200" dirty="0" smtClean="0">
                <a:solidFill>
                  <a:srgbClr val="E65A6D"/>
                </a:solidFill>
              </a:rPr>
              <a:t>Use this layout page when you have</a:t>
            </a:r>
            <a:r>
              <a:rPr lang="en-GB" sz="1200" baseline="0" dirty="0" smtClean="0">
                <a:solidFill>
                  <a:srgbClr val="E65A6D"/>
                </a:solidFill>
              </a:rPr>
              <a:t> a picture that is </a:t>
            </a:r>
            <a:r>
              <a:rPr lang="en-GB" sz="1200" b="1" baseline="0" dirty="0" smtClean="0">
                <a:solidFill>
                  <a:srgbClr val="E65A6D"/>
                </a:solidFill>
              </a:rPr>
              <a:t>light</a:t>
            </a:r>
            <a:r>
              <a:rPr lang="en-GB" sz="1200" baseline="0" dirty="0" smtClean="0">
                <a:solidFill>
                  <a:srgbClr val="E65A6D"/>
                </a:solidFill>
              </a:rPr>
              <a:t>. The logo is different when the picture is dark.</a:t>
            </a:r>
            <a:endParaRPr lang="en-GB" sz="1200" dirty="0">
              <a:solidFill>
                <a:srgbClr val="E65A6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86097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7" pos="4495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age – Sky blue">
    <p:bg>
      <p:bgPr>
        <a:solidFill>
          <a:srgbClr val="D7E9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PATTERN"/>
          <p:cNvGrpSpPr>
            <a:grpSpLocks noChangeAspect="1"/>
          </p:cNvGrpSpPr>
          <p:nvPr userDrawn="1"/>
        </p:nvGrpSpPr>
        <p:grpSpPr bwMode="auto">
          <a:xfrm>
            <a:off x="1588" y="0"/>
            <a:ext cx="12188825" cy="6858000"/>
            <a:chOff x="1" y="0"/>
            <a:chExt cx="7678" cy="4320"/>
          </a:xfrm>
          <a:solidFill>
            <a:srgbClr val="CDE3ED"/>
          </a:solidFill>
        </p:grpSpPr>
        <p:sp>
          <p:nvSpPr>
            <p:cNvPr id="9" name="Freeform 5"/>
            <p:cNvSpPr>
              <a:spLocks/>
            </p:cNvSpPr>
            <p:nvPr userDrawn="1"/>
          </p:nvSpPr>
          <p:spPr bwMode="auto">
            <a:xfrm>
              <a:off x="2150" y="0"/>
              <a:ext cx="3003" cy="4320"/>
            </a:xfrm>
            <a:custGeom>
              <a:avLst/>
              <a:gdLst>
                <a:gd name="T0" fmla="*/ 2979 w 3003"/>
                <a:gd name="T1" fmla="*/ 3126 h 4320"/>
                <a:gd name="T2" fmla="*/ 2546 w 3003"/>
                <a:gd name="T3" fmla="*/ 2437 h 4320"/>
                <a:gd name="T4" fmla="*/ 3003 w 3003"/>
                <a:gd name="T5" fmla="*/ 1850 h 4320"/>
                <a:gd name="T6" fmla="*/ 2778 w 3003"/>
                <a:gd name="T7" fmla="*/ 1690 h 4320"/>
                <a:gd name="T8" fmla="*/ 2137 w 3003"/>
                <a:gd name="T9" fmla="*/ 2195 h 4320"/>
                <a:gd name="T10" fmla="*/ 1575 w 3003"/>
                <a:gd name="T11" fmla="*/ 1682 h 4320"/>
                <a:gd name="T12" fmla="*/ 1262 w 3003"/>
                <a:gd name="T13" fmla="*/ 968 h 4320"/>
                <a:gd name="T14" fmla="*/ 2540 w 3003"/>
                <a:gd name="T15" fmla="*/ 0 h 4320"/>
                <a:gd name="T16" fmla="*/ 1897 w 3003"/>
                <a:gd name="T17" fmla="*/ 0 h 4320"/>
                <a:gd name="T18" fmla="*/ 564 w 3003"/>
                <a:gd name="T19" fmla="*/ 872 h 4320"/>
                <a:gd name="T20" fmla="*/ 1054 w 3003"/>
                <a:gd name="T21" fmla="*/ 2027 h 4320"/>
                <a:gd name="T22" fmla="*/ 1284 w 3003"/>
                <a:gd name="T23" fmla="*/ 2426 h 4320"/>
                <a:gd name="T24" fmla="*/ 0 w 3003"/>
                <a:gd name="T25" fmla="*/ 4320 h 4320"/>
                <a:gd name="T26" fmla="*/ 649 w 3003"/>
                <a:gd name="T27" fmla="*/ 4320 h 4320"/>
                <a:gd name="T28" fmla="*/ 1896 w 3003"/>
                <a:gd name="T29" fmla="*/ 2677 h 4320"/>
                <a:gd name="T30" fmla="*/ 2321 w 3003"/>
                <a:gd name="T31" fmla="*/ 3134 h 4320"/>
                <a:gd name="T32" fmla="*/ 1139 w 3003"/>
                <a:gd name="T33" fmla="*/ 4320 h 4320"/>
                <a:gd name="T34" fmla="*/ 2027 w 3003"/>
                <a:gd name="T35" fmla="*/ 4320 h 4320"/>
                <a:gd name="T36" fmla="*/ 2979 w 3003"/>
                <a:gd name="T37" fmla="*/ 3126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03" h="4320">
                  <a:moveTo>
                    <a:pt x="2979" y="3126"/>
                  </a:moveTo>
                  <a:cubicBezTo>
                    <a:pt x="2979" y="2796"/>
                    <a:pt x="2839" y="2562"/>
                    <a:pt x="2546" y="2437"/>
                  </a:cubicBezTo>
                  <a:cubicBezTo>
                    <a:pt x="2708" y="2297"/>
                    <a:pt x="2852" y="2100"/>
                    <a:pt x="3003" y="1850"/>
                  </a:cubicBezTo>
                  <a:cubicBezTo>
                    <a:pt x="2778" y="1690"/>
                    <a:pt x="2778" y="1690"/>
                    <a:pt x="2778" y="1690"/>
                  </a:cubicBezTo>
                  <a:cubicBezTo>
                    <a:pt x="2538" y="2003"/>
                    <a:pt x="2353" y="2195"/>
                    <a:pt x="2137" y="2195"/>
                  </a:cubicBezTo>
                  <a:cubicBezTo>
                    <a:pt x="1912" y="2195"/>
                    <a:pt x="1744" y="2075"/>
                    <a:pt x="1575" y="1682"/>
                  </a:cubicBezTo>
                  <a:cubicBezTo>
                    <a:pt x="1262" y="968"/>
                    <a:pt x="1262" y="968"/>
                    <a:pt x="1262" y="968"/>
                  </a:cubicBezTo>
                  <a:cubicBezTo>
                    <a:pt x="1772" y="759"/>
                    <a:pt x="2314" y="448"/>
                    <a:pt x="2540" y="0"/>
                  </a:cubicBezTo>
                  <a:cubicBezTo>
                    <a:pt x="1897" y="0"/>
                    <a:pt x="1897" y="0"/>
                    <a:pt x="1897" y="0"/>
                  </a:cubicBezTo>
                  <a:cubicBezTo>
                    <a:pt x="1698" y="356"/>
                    <a:pt x="1202" y="651"/>
                    <a:pt x="564" y="872"/>
                  </a:cubicBezTo>
                  <a:cubicBezTo>
                    <a:pt x="1054" y="2027"/>
                    <a:pt x="1054" y="2027"/>
                    <a:pt x="1054" y="2027"/>
                  </a:cubicBezTo>
                  <a:cubicBezTo>
                    <a:pt x="1126" y="2198"/>
                    <a:pt x="1200" y="2329"/>
                    <a:pt x="1284" y="2426"/>
                  </a:cubicBezTo>
                  <a:cubicBezTo>
                    <a:pt x="491" y="2686"/>
                    <a:pt x="104" y="3451"/>
                    <a:pt x="0" y="4320"/>
                  </a:cubicBezTo>
                  <a:cubicBezTo>
                    <a:pt x="649" y="4320"/>
                    <a:pt x="649" y="4320"/>
                    <a:pt x="649" y="4320"/>
                  </a:cubicBezTo>
                  <a:cubicBezTo>
                    <a:pt x="752" y="3569"/>
                    <a:pt x="1054" y="2677"/>
                    <a:pt x="1896" y="2677"/>
                  </a:cubicBezTo>
                  <a:cubicBezTo>
                    <a:pt x="2241" y="2677"/>
                    <a:pt x="2321" y="2877"/>
                    <a:pt x="2321" y="3134"/>
                  </a:cubicBezTo>
                  <a:cubicBezTo>
                    <a:pt x="2321" y="3618"/>
                    <a:pt x="1938" y="4012"/>
                    <a:pt x="1139" y="4320"/>
                  </a:cubicBezTo>
                  <a:cubicBezTo>
                    <a:pt x="2027" y="4320"/>
                    <a:pt x="2027" y="4320"/>
                    <a:pt x="2027" y="4320"/>
                  </a:cubicBezTo>
                  <a:cubicBezTo>
                    <a:pt x="2605" y="4003"/>
                    <a:pt x="2979" y="3593"/>
                    <a:pt x="2979" y="3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1" y="0"/>
              <a:ext cx="1451" cy="1353"/>
            </a:xfrm>
            <a:custGeom>
              <a:avLst/>
              <a:gdLst>
                <a:gd name="T0" fmla="*/ 1451 w 1451"/>
                <a:gd name="T1" fmla="*/ 527 h 1353"/>
                <a:gd name="T2" fmla="*/ 1227 w 1451"/>
                <a:gd name="T3" fmla="*/ 367 h 1353"/>
                <a:gd name="T4" fmla="*/ 585 w 1451"/>
                <a:gd name="T5" fmla="*/ 872 h 1353"/>
                <a:gd name="T6" fmla="*/ 424 w 1451"/>
                <a:gd name="T7" fmla="*/ 287 h 1353"/>
                <a:gd name="T8" fmla="*/ 473 w 1451"/>
                <a:gd name="T9" fmla="*/ 0 h 1353"/>
                <a:gd name="T10" fmla="*/ 0 w 1451"/>
                <a:gd name="T11" fmla="*/ 0 h 1353"/>
                <a:gd name="T12" fmla="*/ 0 w 1451"/>
                <a:gd name="T13" fmla="*/ 1254 h 1353"/>
                <a:gd name="T14" fmla="*/ 344 w 1451"/>
                <a:gd name="T15" fmla="*/ 1353 h 1353"/>
                <a:gd name="T16" fmla="*/ 1451 w 1451"/>
                <a:gd name="T17" fmla="*/ 527 h 1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1" h="1353">
                  <a:moveTo>
                    <a:pt x="1451" y="527"/>
                  </a:moveTo>
                  <a:cubicBezTo>
                    <a:pt x="1227" y="367"/>
                    <a:pt x="1227" y="367"/>
                    <a:pt x="1227" y="367"/>
                  </a:cubicBezTo>
                  <a:cubicBezTo>
                    <a:pt x="986" y="680"/>
                    <a:pt x="801" y="872"/>
                    <a:pt x="585" y="872"/>
                  </a:cubicBezTo>
                  <a:cubicBezTo>
                    <a:pt x="384" y="872"/>
                    <a:pt x="344" y="760"/>
                    <a:pt x="424" y="287"/>
                  </a:cubicBezTo>
                  <a:cubicBezTo>
                    <a:pt x="473" y="0"/>
                    <a:pt x="473" y="0"/>
                    <a:pt x="4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54"/>
                    <a:pt x="0" y="1254"/>
                    <a:pt x="0" y="1254"/>
                  </a:cubicBezTo>
                  <a:cubicBezTo>
                    <a:pt x="81" y="1318"/>
                    <a:pt x="194" y="1353"/>
                    <a:pt x="344" y="1353"/>
                  </a:cubicBezTo>
                  <a:cubicBezTo>
                    <a:pt x="842" y="1353"/>
                    <a:pt x="1130" y="1057"/>
                    <a:pt x="1451" y="5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auto">
            <a:xfrm>
              <a:off x="1" y="0"/>
              <a:ext cx="2600" cy="4320"/>
            </a:xfrm>
            <a:custGeom>
              <a:avLst/>
              <a:gdLst>
                <a:gd name="T0" fmla="*/ 363 w 2601"/>
                <a:gd name="T1" fmla="*/ 2850 h 4320"/>
                <a:gd name="T2" fmla="*/ 932 w 2601"/>
                <a:gd name="T3" fmla="*/ 2297 h 4320"/>
                <a:gd name="T4" fmla="*/ 1526 w 2601"/>
                <a:gd name="T5" fmla="*/ 2978 h 4320"/>
                <a:gd name="T6" fmla="*/ 1790 w 2601"/>
                <a:gd name="T7" fmla="*/ 2938 h 4320"/>
                <a:gd name="T8" fmla="*/ 2025 w 2601"/>
                <a:gd name="T9" fmla="*/ 2604 h 4320"/>
                <a:gd name="T10" fmla="*/ 2321 w 2601"/>
                <a:gd name="T11" fmla="*/ 776 h 4320"/>
                <a:gd name="T12" fmla="*/ 2601 w 2601"/>
                <a:gd name="T13" fmla="*/ 0 h 4320"/>
                <a:gd name="T14" fmla="*/ 1868 w 2601"/>
                <a:gd name="T15" fmla="*/ 0 h 4320"/>
                <a:gd name="T16" fmla="*/ 1540 w 2601"/>
                <a:gd name="T17" fmla="*/ 1994 h 4320"/>
                <a:gd name="T18" fmla="*/ 1020 w 2601"/>
                <a:gd name="T19" fmla="*/ 1928 h 4320"/>
                <a:gd name="T20" fmla="*/ 0 w 2601"/>
                <a:gd name="T21" fmla="*/ 2418 h 4320"/>
                <a:gd name="T22" fmla="*/ 0 w 2601"/>
                <a:gd name="T23" fmla="*/ 3576 h 4320"/>
                <a:gd name="T24" fmla="*/ 990 w 2601"/>
                <a:gd name="T25" fmla="*/ 4320 h 4320"/>
                <a:gd name="T26" fmla="*/ 1740 w 2601"/>
                <a:gd name="T27" fmla="*/ 4320 h 4320"/>
                <a:gd name="T28" fmla="*/ 363 w 2601"/>
                <a:gd name="T29" fmla="*/ 285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01" h="4320">
                  <a:moveTo>
                    <a:pt x="363" y="2850"/>
                  </a:moveTo>
                  <a:cubicBezTo>
                    <a:pt x="363" y="2601"/>
                    <a:pt x="531" y="2297"/>
                    <a:pt x="932" y="2297"/>
                  </a:cubicBezTo>
                  <a:cubicBezTo>
                    <a:pt x="1293" y="2297"/>
                    <a:pt x="1526" y="2505"/>
                    <a:pt x="1526" y="2978"/>
                  </a:cubicBezTo>
                  <a:cubicBezTo>
                    <a:pt x="1790" y="2938"/>
                    <a:pt x="1790" y="2938"/>
                    <a:pt x="1790" y="2938"/>
                  </a:cubicBezTo>
                  <a:cubicBezTo>
                    <a:pt x="1894" y="2883"/>
                    <a:pt x="1999" y="2761"/>
                    <a:pt x="2025" y="2604"/>
                  </a:cubicBezTo>
                  <a:cubicBezTo>
                    <a:pt x="2321" y="776"/>
                    <a:pt x="2321" y="776"/>
                    <a:pt x="2321" y="776"/>
                  </a:cubicBezTo>
                  <a:cubicBezTo>
                    <a:pt x="2368" y="491"/>
                    <a:pt x="2465" y="226"/>
                    <a:pt x="2601" y="0"/>
                  </a:cubicBezTo>
                  <a:cubicBezTo>
                    <a:pt x="1868" y="0"/>
                    <a:pt x="1868" y="0"/>
                    <a:pt x="1868" y="0"/>
                  </a:cubicBezTo>
                  <a:cubicBezTo>
                    <a:pt x="1540" y="1994"/>
                    <a:pt x="1540" y="1994"/>
                    <a:pt x="1540" y="1994"/>
                  </a:cubicBezTo>
                  <a:cubicBezTo>
                    <a:pt x="1393" y="1950"/>
                    <a:pt x="1217" y="1928"/>
                    <a:pt x="1020" y="1928"/>
                  </a:cubicBezTo>
                  <a:cubicBezTo>
                    <a:pt x="529" y="1928"/>
                    <a:pt x="189" y="2127"/>
                    <a:pt x="0" y="2418"/>
                  </a:cubicBezTo>
                  <a:cubicBezTo>
                    <a:pt x="0" y="3576"/>
                    <a:pt x="0" y="3576"/>
                    <a:pt x="0" y="3576"/>
                  </a:cubicBezTo>
                  <a:cubicBezTo>
                    <a:pt x="251" y="3907"/>
                    <a:pt x="714" y="4057"/>
                    <a:pt x="990" y="4320"/>
                  </a:cubicBezTo>
                  <a:cubicBezTo>
                    <a:pt x="1740" y="4320"/>
                    <a:pt x="1740" y="4320"/>
                    <a:pt x="1740" y="4320"/>
                  </a:cubicBezTo>
                  <a:cubicBezTo>
                    <a:pt x="1472" y="3647"/>
                    <a:pt x="363" y="3506"/>
                    <a:pt x="363" y="28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5259" y="0"/>
              <a:ext cx="2420" cy="4320"/>
            </a:xfrm>
            <a:custGeom>
              <a:avLst/>
              <a:gdLst>
                <a:gd name="T0" fmla="*/ 2303 w 2421"/>
                <a:gd name="T1" fmla="*/ 0 h 4320"/>
                <a:gd name="T2" fmla="*/ 658 w 2421"/>
                <a:gd name="T3" fmla="*/ 1073 h 4320"/>
                <a:gd name="T4" fmla="*/ 920 w 2421"/>
                <a:gd name="T5" fmla="*/ 0 h 4320"/>
                <a:gd name="T6" fmla="*/ 268 w 2421"/>
                <a:gd name="T7" fmla="*/ 0 h 4320"/>
                <a:gd name="T8" fmla="*/ 0 w 2421"/>
                <a:gd name="T9" fmla="*/ 1410 h 4320"/>
                <a:gd name="T10" fmla="*/ 656 w 2421"/>
                <a:gd name="T11" fmla="*/ 2690 h 4320"/>
                <a:gd name="T12" fmla="*/ 270 w 2421"/>
                <a:gd name="T13" fmla="*/ 3541 h 4320"/>
                <a:gd name="T14" fmla="*/ 692 w 2421"/>
                <a:gd name="T15" fmla="*/ 4320 h 4320"/>
                <a:gd name="T16" fmla="*/ 1749 w 2421"/>
                <a:gd name="T17" fmla="*/ 4320 h 4320"/>
                <a:gd name="T18" fmla="*/ 808 w 2421"/>
                <a:gd name="T19" fmla="*/ 3356 h 4320"/>
                <a:gd name="T20" fmla="*/ 1377 w 2421"/>
                <a:gd name="T21" fmla="*/ 2803 h 4320"/>
                <a:gd name="T22" fmla="*/ 1971 w 2421"/>
                <a:gd name="T23" fmla="*/ 3484 h 4320"/>
                <a:gd name="T24" fmla="*/ 2236 w 2421"/>
                <a:gd name="T25" fmla="*/ 3444 h 4320"/>
                <a:gd name="T26" fmla="*/ 2421 w 2421"/>
                <a:gd name="T27" fmla="*/ 3254 h 4320"/>
                <a:gd name="T28" fmla="*/ 2421 w 2421"/>
                <a:gd name="T29" fmla="*/ 2808 h 4320"/>
                <a:gd name="T30" fmla="*/ 2145 w 2421"/>
                <a:gd name="T31" fmla="*/ 2561 h 4320"/>
                <a:gd name="T32" fmla="*/ 2421 w 2421"/>
                <a:gd name="T33" fmla="*/ 2333 h 4320"/>
                <a:gd name="T34" fmla="*/ 2421 w 2421"/>
                <a:gd name="T35" fmla="*/ 1869 h 4320"/>
                <a:gd name="T36" fmla="*/ 1404 w 2421"/>
                <a:gd name="T37" fmla="*/ 2332 h 4320"/>
                <a:gd name="T38" fmla="*/ 642 w 2421"/>
                <a:gd name="T39" fmla="*/ 1410 h 4320"/>
                <a:gd name="T40" fmla="*/ 2421 w 2421"/>
                <a:gd name="T41" fmla="*/ 670 h 4320"/>
                <a:gd name="T42" fmla="*/ 2421 w 2421"/>
                <a:gd name="T43" fmla="*/ 0 h 4320"/>
                <a:gd name="T44" fmla="*/ 2303 w 2421"/>
                <a:gd name="T45" fmla="*/ 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21" h="4320">
                  <a:moveTo>
                    <a:pt x="2303" y="0"/>
                  </a:moveTo>
                  <a:cubicBezTo>
                    <a:pt x="2148" y="444"/>
                    <a:pt x="1610" y="800"/>
                    <a:pt x="658" y="1073"/>
                  </a:cubicBezTo>
                  <a:cubicBezTo>
                    <a:pt x="694" y="728"/>
                    <a:pt x="768" y="333"/>
                    <a:pt x="920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82" y="414"/>
                    <a:pt x="0" y="907"/>
                    <a:pt x="0" y="1410"/>
                  </a:cubicBezTo>
                  <a:cubicBezTo>
                    <a:pt x="0" y="2100"/>
                    <a:pt x="240" y="2507"/>
                    <a:pt x="656" y="2690"/>
                  </a:cubicBezTo>
                  <a:cubicBezTo>
                    <a:pt x="399" y="2897"/>
                    <a:pt x="270" y="3209"/>
                    <a:pt x="270" y="3541"/>
                  </a:cubicBezTo>
                  <a:cubicBezTo>
                    <a:pt x="270" y="3916"/>
                    <a:pt x="456" y="4143"/>
                    <a:pt x="692" y="4320"/>
                  </a:cubicBezTo>
                  <a:cubicBezTo>
                    <a:pt x="1749" y="4320"/>
                    <a:pt x="1749" y="4320"/>
                    <a:pt x="1749" y="4320"/>
                  </a:cubicBezTo>
                  <a:cubicBezTo>
                    <a:pt x="1333" y="4015"/>
                    <a:pt x="808" y="3807"/>
                    <a:pt x="808" y="3356"/>
                  </a:cubicBezTo>
                  <a:cubicBezTo>
                    <a:pt x="808" y="3107"/>
                    <a:pt x="976" y="2803"/>
                    <a:pt x="1377" y="2803"/>
                  </a:cubicBezTo>
                  <a:cubicBezTo>
                    <a:pt x="1738" y="2803"/>
                    <a:pt x="1971" y="3011"/>
                    <a:pt x="1971" y="3484"/>
                  </a:cubicBezTo>
                  <a:cubicBezTo>
                    <a:pt x="2236" y="3444"/>
                    <a:pt x="2236" y="3444"/>
                    <a:pt x="2236" y="3444"/>
                  </a:cubicBezTo>
                  <a:cubicBezTo>
                    <a:pt x="2305" y="3407"/>
                    <a:pt x="2375" y="3340"/>
                    <a:pt x="2421" y="3254"/>
                  </a:cubicBezTo>
                  <a:cubicBezTo>
                    <a:pt x="2421" y="2808"/>
                    <a:pt x="2421" y="2808"/>
                    <a:pt x="2421" y="2808"/>
                  </a:cubicBezTo>
                  <a:cubicBezTo>
                    <a:pt x="2366" y="2706"/>
                    <a:pt x="2272" y="2623"/>
                    <a:pt x="2145" y="2561"/>
                  </a:cubicBezTo>
                  <a:cubicBezTo>
                    <a:pt x="2248" y="2495"/>
                    <a:pt x="2339" y="2418"/>
                    <a:pt x="2421" y="2333"/>
                  </a:cubicBezTo>
                  <a:cubicBezTo>
                    <a:pt x="2421" y="1869"/>
                    <a:pt x="2421" y="1869"/>
                    <a:pt x="2421" y="1869"/>
                  </a:cubicBezTo>
                  <a:cubicBezTo>
                    <a:pt x="2165" y="2166"/>
                    <a:pt x="1799" y="2332"/>
                    <a:pt x="1404" y="2332"/>
                  </a:cubicBezTo>
                  <a:cubicBezTo>
                    <a:pt x="923" y="2332"/>
                    <a:pt x="642" y="2115"/>
                    <a:pt x="642" y="1410"/>
                  </a:cubicBezTo>
                  <a:cubicBezTo>
                    <a:pt x="1351" y="1253"/>
                    <a:pt x="1987" y="997"/>
                    <a:pt x="2421" y="670"/>
                  </a:cubicBezTo>
                  <a:cubicBezTo>
                    <a:pt x="2421" y="0"/>
                    <a:pt x="2421" y="0"/>
                    <a:pt x="2421" y="0"/>
                  </a:cubicBezTo>
                  <a:lnTo>
                    <a:pt x="23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31800" y="4074530"/>
            <a:ext cx="11340000" cy="900000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GB" dirty="0" smtClean="0"/>
              <a:t>Click to add presentation title – subtitle </a:t>
            </a:r>
            <a:br>
              <a:rPr lang="en-GB" dirty="0" smtClean="0"/>
            </a:br>
            <a:r>
              <a:rPr lang="en-GB" dirty="0" smtClean="0"/>
              <a:t>– max. two lines</a:t>
            </a:r>
            <a:endParaRPr lang="en-GB" dirty="0"/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431800" y="5077820"/>
            <a:ext cx="11340000" cy="18466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200" baseline="0">
                <a:solidFill>
                  <a:schemeClr val="tx2"/>
                </a:solidFill>
                <a:latin typeface="Danske Text" panose="000004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 smtClean="0"/>
              <a:t>Click to add document type / audience / date [</a:t>
            </a:r>
            <a:r>
              <a:rPr lang="en-GB" dirty="0" err="1" smtClean="0"/>
              <a:t>dd</a:t>
            </a:r>
            <a:r>
              <a:rPr lang="en-GB" dirty="0" smtClean="0"/>
              <a:t> </a:t>
            </a:r>
            <a:r>
              <a:rPr lang="en-GB" dirty="0" err="1" smtClean="0"/>
              <a:t>mmmm</a:t>
            </a:r>
            <a:r>
              <a:rPr lang="en-GB" dirty="0" smtClean="0"/>
              <a:t> </a:t>
            </a:r>
            <a:r>
              <a:rPr lang="en-GB" dirty="0" err="1" smtClean="0"/>
              <a:t>yyyy</a:t>
            </a:r>
            <a:r>
              <a:rPr lang="en-GB" dirty="0" smtClean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10865530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567">
          <p15:clr>
            <a:srgbClr val="F26B43"/>
          </p15:clr>
        </p15:guide>
        <p15:guide id="2" orient="horz" pos="3198">
          <p15:clr>
            <a:srgbClr val="F26B43"/>
          </p15:clr>
        </p15:guide>
        <p15:guide id="3" orient="horz" pos="3135">
          <p15:clr>
            <a:srgbClr val="F26B43"/>
          </p15:clr>
        </p15:guide>
        <p15:guide id="4" orient="horz" pos="3315">
          <p15:clr>
            <a:srgbClr val="F26B43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&gt;&gt;Do not use layouts after thi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use"/>
          <p:cNvSpPr txBox="1"/>
          <p:nvPr userDrawn="1"/>
        </p:nvSpPr>
        <p:spPr>
          <a:xfrm>
            <a:off x="1627863" y="2099405"/>
            <a:ext cx="8936275" cy="26591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fontAlgn="auto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US" sz="3600" b="1" noProof="0" dirty="0" smtClean="0">
                <a:solidFill>
                  <a:schemeClr val="bg1"/>
                </a:solidFill>
              </a:rPr>
              <a:t>If you see any layouts after this, </a:t>
            </a:r>
            <a:r>
              <a:rPr lang="en-US" sz="3600" b="1" noProof="0" dirty="0" smtClean="0">
                <a:solidFill>
                  <a:srgbClr val="E65A6D"/>
                </a:solidFill>
              </a:rPr>
              <a:t>DO NOT </a:t>
            </a:r>
            <a:br>
              <a:rPr lang="en-US" sz="3600" b="1" noProof="0" dirty="0" smtClean="0">
                <a:solidFill>
                  <a:srgbClr val="E65A6D"/>
                </a:solidFill>
              </a:rPr>
            </a:br>
            <a:r>
              <a:rPr lang="en-US" sz="3600" b="1" noProof="0" dirty="0" smtClean="0">
                <a:solidFill>
                  <a:schemeClr val="bg1"/>
                </a:solidFill>
              </a:rPr>
              <a:t>use these. The layouts have been copied from other templates at some point and are not part of </a:t>
            </a:r>
            <a:r>
              <a:rPr lang="en-US" sz="3600" b="1" noProof="0" dirty="0" smtClean="0">
                <a:solidFill>
                  <a:schemeClr val="bg1"/>
                </a:solidFill>
              </a:rPr>
              <a:t>official </a:t>
            </a:r>
            <a:r>
              <a:rPr lang="en-US" sz="3600" b="1" noProof="0" dirty="0" smtClean="0">
                <a:solidFill>
                  <a:schemeClr val="bg1"/>
                </a:solidFill>
              </a:rPr>
              <a:t>template.</a:t>
            </a:r>
            <a:endParaRPr lang="en-GB" sz="3600" baseline="0" noProof="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420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Page_EXTERN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1" y="4074530"/>
            <a:ext cx="11331574" cy="88639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add Presentation Title – increase font size for large audience – max. two lines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801" y="5077820"/>
            <a:ext cx="11331574" cy="184666"/>
          </a:xfrm>
        </p:spPr>
        <p:txBody>
          <a:bodyPr anchor="t" anchorCtr="0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 smtClean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1801" y="6606933"/>
            <a:ext cx="2752589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14BAD6-00D0-4A5F-B893-C9F0AB5712B8}" type="datetime1">
              <a:rPr lang="en-GB" smtClean="0"/>
              <a:pPr/>
              <a:t>15/06/2019</a:t>
            </a:fld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48575" y="53851"/>
            <a:ext cx="4114800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97662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7084605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/>
              <a:t>15/06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0" y="728663"/>
            <a:ext cx="11332800" cy="33239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49800" y="53851"/>
            <a:ext cx="4114800" cy="12311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1105088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3507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198" y="727199"/>
            <a:ext cx="11340000" cy="684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11340000" cy="246221"/>
          </a:xfrm>
        </p:spPr>
        <p:txBody>
          <a:bodyPr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11340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12" name="Date Placeholder"/>
          <p:cNvSpPr>
            <a:spLocks noGrp="1"/>
          </p:cNvSpPr>
          <p:nvPr>
            <p:ph type="dt" sz="half" idx="69"/>
          </p:nvPr>
        </p:nvSpPr>
        <p:spPr>
          <a:xfrm>
            <a:off x="432197" y="6886754"/>
            <a:ext cx="20880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83313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1">
          <p15:clr>
            <a:srgbClr val="F26B43"/>
          </p15:clr>
        </p15:guide>
        <p15:guide id="2" orient="horz" pos="293">
          <p15:clr>
            <a:srgbClr val="F26B43"/>
          </p15:clr>
        </p15:guide>
        <p15:guide id="3" orient="horz" pos="958">
          <p15:clr>
            <a:srgbClr val="F26B43"/>
          </p15:clr>
        </p15:guide>
        <p15:guide id="4" orient="horz" pos="1115">
          <p15:clr>
            <a:srgbClr val="F26B43"/>
          </p15:clr>
        </p15:guide>
        <p15:guide id="5" orient="horz" pos="4178">
          <p15:clr>
            <a:srgbClr val="F26B43"/>
          </p15:clr>
        </p15:guide>
        <p15:guide id="6" orient="horz" pos="4258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– Picture (Dark Picture)">
    <p:bg>
      <p:bgPr>
        <a:solidFill>
          <a:srgbClr val="E6E8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r>
              <a:rPr lang="en-US" dirty="0" smtClean="0"/>
              <a:t> </a:t>
            </a:r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31800" y="4074530"/>
            <a:ext cx="11340000" cy="900000"/>
          </a:xfrm>
          <a:prstGeom prst="rect">
            <a:avLst/>
          </a:prstGeom>
        </p:spPr>
        <p:txBody>
          <a:bodyPr wrap="square" bIns="0" anchor="b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add presentation title – subtitle </a:t>
            </a:r>
            <a:br>
              <a:rPr lang="en-GB" dirty="0" smtClean="0"/>
            </a:br>
            <a:r>
              <a:rPr lang="en-GB" dirty="0" smtClean="0"/>
              <a:t>– max. two lines</a:t>
            </a:r>
            <a:endParaRPr lang="en-GB" dirty="0"/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431800" y="5077820"/>
            <a:ext cx="11340000" cy="18466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  <a:latin typeface="Danske Text" panose="000004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 smtClean="0"/>
              <a:t>Click to add document type / audience / date [</a:t>
            </a:r>
            <a:r>
              <a:rPr lang="en-GB" dirty="0" err="1" smtClean="0"/>
              <a:t>dd</a:t>
            </a:r>
            <a:r>
              <a:rPr lang="en-GB" dirty="0" smtClean="0"/>
              <a:t> </a:t>
            </a:r>
            <a:r>
              <a:rPr lang="en-GB" dirty="0" err="1" smtClean="0"/>
              <a:t>mmmm</a:t>
            </a:r>
            <a:r>
              <a:rPr lang="en-GB" dirty="0" smtClean="0"/>
              <a:t> </a:t>
            </a:r>
            <a:r>
              <a:rPr lang="en-GB" dirty="0" err="1" smtClean="0"/>
              <a:t>yyyy</a:t>
            </a:r>
            <a:r>
              <a:rPr lang="en-GB" dirty="0" smtClean="0"/>
              <a:t>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2460000" y="-322444"/>
            <a:ext cx="7272000" cy="289506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600"/>
              </a:spcBef>
              <a:buClr>
                <a:srgbClr val="003755"/>
              </a:buClr>
              <a:buFontTx/>
              <a:buNone/>
            </a:pPr>
            <a:r>
              <a:rPr lang="en-GB" sz="1200" dirty="0" smtClean="0">
                <a:solidFill>
                  <a:srgbClr val="E65A6D"/>
                </a:solidFill>
              </a:rPr>
              <a:t>Use this layout page when you have</a:t>
            </a:r>
            <a:r>
              <a:rPr lang="en-GB" sz="1200" baseline="0" dirty="0" smtClean="0">
                <a:solidFill>
                  <a:srgbClr val="E65A6D"/>
                </a:solidFill>
              </a:rPr>
              <a:t> a picture that is </a:t>
            </a:r>
            <a:r>
              <a:rPr lang="en-GB" sz="1200" b="1" baseline="0" dirty="0" smtClean="0">
                <a:solidFill>
                  <a:srgbClr val="E65A6D"/>
                </a:solidFill>
              </a:rPr>
              <a:t>dark</a:t>
            </a:r>
            <a:r>
              <a:rPr lang="en-GB" sz="1200" baseline="0" dirty="0" smtClean="0">
                <a:solidFill>
                  <a:srgbClr val="E65A6D"/>
                </a:solidFill>
              </a:rPr>
              <a:t>. The logo is different when the picture is very light.</a:t>
            </a:r>
            <a:endParaRPr lang="en-GB" sz="1200" dirty="0">
              <a:solidFill>
                <a:srgbClr val="E65A6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30029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orient="horz" pos="2566" userDrawn="1">
          <p15:clr>
            <a:srgbClr val="F26B43"/>
          </p15:clr>
        </p15:guide>
        <p15:guide id="3" orient="horz" pos="3198" userDrawn="1">
          <p15:clr>
            <a:srgbClr val="F26B43"/>
          </p15:clr>
        </p15:guide>
        <p15:guide id="5" orient="horz" pos="3135" userDrawn="1">
          <p15:clr>
            <a:srgbClr val="F26B43"/>
          </p15:clr>
        </p15:guide>
        <p15:guide id="8" orient="horz" pos="3315" userDrawn="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– Picture (Light Picture)">
    <p:bg>
      <p:bgPr>
        <a:solidFill>
          <a:srgbClr val="E6E8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r>
              <a:rPr lang="en-US" dirty="0" smtClean="0"/>
              <a:t> </a:t>
            </a:r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31800" y="4074530"/>
            <a:ext cx="11340000" cy="900000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rgbClr val="003755"/>
                </a:solidFill>
              </a:defRPr>
            </a:lvl1pPr>
          </a:lstStyle>
          <a:p>
            <a:r>
              <a:rPr lang="en-GB" dirty="0" smtClean="0"/>
              <a:t>Click to add presentation title – subtitle </a:t>
            </a:r>
            <a:br>
              <a:rPr lang="en-GB" dirty="0" smtClean="0"/>
            </a:br>
            <a:r>
              <a:rPr lang="en-GB" dirty="0" smtClean="0"/>
              <a:t>– max. two lines</a:t>
            </a:r>
            <a:endParaRPr lang="en-GB" dirty="0"/>
          </a:p>
        </p:txBody>
      </p:sp>
      <p:sp>
        <p:nvSpPr>
          <p:cNvPr id="3" name="SUBTITLE placeholder 1"/>
          <p:cNvSpPr>
            <a:spLocks noGrp="1"/>
          </p:cNvSpPr>
          <p:nvPr>
            <p:ph type="subTitle" idx="1" hasCustomPrompt="1"/>
          </p:nvPr>
        </p:nvSpPr>
        <p:spPr>
          <a:xfrm>
            <a:off x="431800" y="5077820"/>
            <a:ext cx="11340000" cy="18466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200" baseline="0">
                <a:solidFill>
                  <a:srgbClr val="003755"/>
                </a:solidFill>
                <a:latin typeface="Danske Text" panose="000004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 smtClean="0"/>
              <a:t>Click to add document type / audience / date [</a:t>
            </a:r>
            <a:r>
              <a:rPr lang="en-GB" dirty="0" err="1" smtClean="0"/>
              <a:t>dd</a:t>
            </a:r>
            <a:r>
              <a:rPr lang="en-GB" dirty="0" smtClean="0"/>
              <a:t> </a:t>
            </a:r>
            <a:r>
              <a:rPr lang="en-GB" dirty="0" err="1" smtClean="0"/>
              <a:t>mmmm</a:t>
            </a:r>
            <a:r>
              <a:rPr lang="en-GB" dirty="0" smtClean="0"/>
              <a:t> </a:t>
            </a:r>
            <a:r>
              <a:rPr lang="en-GB" dirty="0" err="1" smtClean="0"/>
              <a:t>yyyy</a:t>
            </a:r>
            <a:r>
              <a:rPr lang="en-GB" dirty="0" smtClean="0"/>
              <a:t>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2460000" y="-322444"/>
            <a:ext cx="7272000" cy="289506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0" indent="0">
              <a:lnSpc>
                <a:spcPct val="110000"/>
              </a:lnSpc>
              <a:spcBef>
                <a:spcPts val="600"/>
              </a:spcBef>
              <a:buClr>
                <a:srgbClr val="003755"/>
              </a:buClr>
              <a:buFontTx/>
              <a:buNone/>
            </a:pPr>
            <a:r>
              <a:rPr lang="en-GB" sz="1200" dirty="0" smtClean="0">
                <a:solidFill>
                  <a:srgbClr val="E65A6D"/>
                </a:solidFill>
              </a:rPr>
              <a:t>Use this layout page when you have</a:t>
            </a:r>
            <a:r>
              <a:rPr lang="en-GB" sz="1200" baseline="0" dirty="0" smtClean="0">
                <a:solidFill>
                  <a:srgbClr val="E65A6D"/>
                </a:solidFill>
              </a:rPr>
              <a:t> a picture that is </a:t>
            </a:r>
            <a:r>
              <a:rPr lang="en-GB" sz="1200" b="1" baseline="0" dirty="0" smtClean="0">
                <a:solidFill>
                  <a:srgbClr val="E65A6D"/>
                </a:solidFill>
              </a:rPr>
              <a:t>light</a:t>
            </a:r>
            <a:r>
              <a:rPr lang="en-GB" sz="1200" baseline="0" dirty="0" smtClean="0">
                <a:solidFill>
                  <a:srgbClr val="E65A6D"/>
                </a:solidFill>
              </a:rPr>
              <a:t>. The logo is different when the picture is dark.</a:t>
            </a:r>
            <a:endParaRPr lang="en-GB" sz="1200" dirty="0">
              <a:solidFill>
                <a:srgbClr val="E65A6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870800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135" userDrawn="1">
          <p15:clr>
            <a:srgbClr val="F26B43"/>
          </p15:clr>
        </p15:guide>
        <p15:guide id="2" orient="horz" pos="3198" userDrawn="1">
          <p15:clr>
            <a:srgbClr val="F26B43"/>
          </p15:clr>
        </p15:guide>
        <p15:guide id="3" orient="horz" pos="3315" userDrawn="1">
          <p15:clr>
            <a:srgbClr val="F26B43"/>
          </p15:clr>
        </p15:guide>
        <p15:guide id="4" orient="horz" pos="2567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522800"/>
            <a:ext cx="11340000" cy="4878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12" name="Date Placeholder"/>
          <p:cNvSpPr>
            <a:spLocks noGrp="1"/>
          </p:cNvSpPr>
          <p:nvPr>
            <p:ph type="dt" sz="half" idx="69"/>
          </p:nvPr>
        </p:nvSpPr>
        <p:spPr>
          <a:xfrm>
            <a:off x="432197" y="6886754"/>
            <a:ext cx="20880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37392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orient="horz" pos="411" userDrawn="1">
          <p15:clr>
            <a:srgbClr val="F26B43"/>
          </p15:clr>
        </p15:guide>
        <p15:guide id="3" orient="horz" pos="293" userDrawn="1">
          <p15:clr>
            <a:srgbClr val="F26B43"/>
          </p15:clr>
        </p15:guide>
        <p15:guide id="16" orient="horz" pos="4178" userDrawn="1">
          <p15:clr>
            <a:srgbClr val="F26B43"/>
          </p15:clr>
        </p15:guide>
        <p15:guide id="17" orient="horz" pos="4258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Description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11340000" cy="246221"/>
          </a:xfrm>
        </p:spPr>
        <p:txBody>
          <a:bodyPr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11340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12" name="Date Placeholder"/>
          <p:cNvSpPr>
            <a:spLocks noGrp="1"/>
          </p:cNvSpPr>
          <p:nvPr>
            <p:ph type="dt" sz="half" idx="69"/>
          </p:nvPr>
        </p:nvSpPr>
        <p:spPr>
          <a:xfrm>
            <a:off x="432197" y="6886754"/>
            <a:ext cx="20880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98638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11">
          <p15:clr>
            <a:srgbClr val="F26B43"/>
          </p15:clr>
        </p15:guide>
        <p15:guide id="2" orient="horz" pos="293">
          <p15:clr>
            <a:srgbClr val="F26B43"/>
          </p15:clr>
        </p15:guide>
        <p15:guide id="3" orient="horz" pos="1115">
          <p15:clr>
            <a:srgbClr val="F26B43"/>
          </p15:clr>
        </p15:guide>
        <p15:guide id="4" orient="horz" pos="4178">
          <p15:clr>
            <a:srgbClr val="F26B43"/>
          </p15:clr>
        </p15:guide>
        <p15:guide id="5" orient="horz" pos="4258">
          <p15:clr>
            <a:srgbClr val="F26B43"/>
          </p15:clr>
        </p15:guide>
        <p15:guide id="0" orient="horz" pos="1133" userDrawn="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55584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55584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6213798" y="1522800"/>
            <a:ext cx="5558400" cy="246221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6213798" y="1800000"/>
            <a:ext cx="55584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317231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3" orient="horz" pos="292">
          <p15:clr>
            <a:srgbClr val="F26B43"/>
          </p15:clr>
        </p15:guide>
        <p15:guide id="6" pos="3776" userDrawn="1">
          <p15:clr>
            <a:srgbClr val="F26B43"/>
          </p15:clr>
        </p15:guide>
        <p15:guide id="12" orient="horz" pos="411" userDrawn="1">
          <p15:clr>
            <a:srgbClr val="F26B43"/>
          </p15:clr>
        </p15:guide>
        <p15:guide id="13" orient="horz" pos="889" userDrawn="1">
          <p15:clr>
            <a:srgbClr val="F26B43"/>
          </p15:clr>
        </p15:guide>
        <p15:guide id="15" orient="horz" pos="4178" userDrawn="1">
          <p15:clr>
            <a:srgbClr val="F26B43"/>
          </p15:clr>
        </p15:guide>
        <p15:guide id="16" orient="horz" pos="4258" userDrawn="1">
          <p15:clr>
            <a:srgbClr val="F26B43"/>
          </p15:clr>
        </p15:guide>
        <p15:guide id="17" orient="horz" pos="1115" userDrawn="1">
          <p15:clr>
            <a:srgbClr val="F26B43"/>
          </p15:clr>
        </p15:guide>
        <p15:guide id="18" pos="3914" userDrawn="1">
          <p15:clr>
            <a:srgbClr val="F26B43"/>
          </p15:clr>
        </p15:guide>
        <p15:guide id="19" orient="horz" pos="1133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–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388000" cy="184666"/>
          </a:xfrm>
        </p:spPr>
        <p:txBody>
          <a:bodyPr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198" y="727199"/>
            <a:ext cx="11340000" cy="684000"/>
          </a:xfrm>
        </p:spPr>
        <p:txBody>
          <a:bodyPr b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4" name="DESCRIPTION Placeholder 1"/>
          <p:cNvSpPr>
            <a:spLocks noGrp="1"/>
          </p:cNvSpPr>
          <p:nvPr>
            <p:ph type="body" sz="quarter" idx="71" hasCustomPrompt="1"/>
          </p:nvPr>
        </p:nvSpPr>
        <p:spPr>
          <a:xfrm>
            <a:off x="432198" y="1522800"/>
            <a:ext cx="11340000" cy="246221"/>
          </a:xfrm>
        </p:spPr>
        <p:txBody>
          <a:bodyPr bIns="0">
            <a:noAutofit/>
          </a:bodyPr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72"/>
          </p:nvPr>
        </p:nvSpPr>
        <p:spPr>
          <a:xfrm>
            <a:off x="432198" y="1800000"/>
            <a:ext cx="113400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DESCRIPTION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432198" y="4077169"/>
            <a:ext cx="11340000" cy="246221"/>
          </a:xfrm>
        </p:spPr>
        <p:txBody>
          <a:bodyPr bIns="0">
            <a:noAutofit/>
          </a:bodyPr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rgbClr val="003755"/>
                </a:solidFill>
              </a:defRPr>
            </a:lvl1pPr>
          </a:lstStyle>
          <a:p>
            <a:pPr lvl="0"/>
            <a:r>
              <a:rPr lang="en-US" dirty="0" smtClean="0"/>
              <a:t>Add description max 1li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74"/>
          </p:nvPr>
        </p:nvSpPr>
        <p:spPr>
          <a:xfrm>
            <a:off x="432198" y="4356000"/>
            <a:ext cx="11340000" cy="20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5" name="SOURCE placeholder 1"/>
          <p:cNvSpPr>
            <a:spLocks noGrp="1"/>
          </p:cNvSpPr>
          <p:nvPr>
            <p:ph type="body" sz="quarter" idx="68" hasCustomPrompt="1"/>
          </p:nvPr>
        </p:nvSpPr>
        <p:spPr>
          <a:xfrm>
            <a:off x="432198" y="6634236"/>
            <a:ext cx="7704000" cy="123111"/>
          </a:xfrm>
        </p:spPr>
        <p:txBody>
          <a:bodyPr bIns="0" anchor="b" anchorCtr="0">
            <a:spAutoFit/>
          </a:bodyPr>
          <a:lstStyle>
            <a:lvl1pPr marL="360363" indent="-360363">
              <a:spcBef>
                <a:spcPts val="0"/>
              </a:spcBef>
              <a:buFontTx/>
              <a:buNone/>
              <a:tabLst>
                <a:tab pos="360363" algn="l"/>
              </a:tabLst>
              <a:defRPr sz="800"/>
            </a:lvl1pPr>
            <a:lvl2pPr marL="360363" indent="-360363">
              <a:buNone/>
              <a:defRPr/>
            </a:lvl2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69"/>
          </p:nvPr>
        </p:nvSpPr>
        <p:spPr>
          <a:xfrm>
            <a:off x="432198" y="6886754"/>
            <a:ext cx="20880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70"/>
          </p:nvPr>
        </p:nvSpPr>
        <p:spPr>
          <a:xfrm>
            <a:off x="8155320" y="6649625"/>
            <a:ext cx="3276000" cy="107722"/>
          </a:xfrm>
        </p:spPr>
        <p:txBody>
          <a:bodyPr bIns="0">
            <a:spAutoFit/>
          </a:bodyPr>
          <a:lstStyle/>
          <a:p>
            <a:endParaRPr lang="en-US" dirty="0"/>
          </a:p>
        </p:txBody>
      </p:sp>
      <p:sp>
        <p:nvSpPr>
          <p:cNvPr id="48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4451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92">
          <p15:clr>
            <a:srgbClr val="F26B43"/>
          </p15:clr>
        </p15:guide>
        <p15:guide id="2" orient="horz" pos="4178">
          <p15:clr>
            <a:srgbClr val="F26B43"/>
          </p15:clr>
        </p15:guide>
        <p15:guide id="4" orient="horz" pos="2743">
          <p15:clr>
            <a:srgbClr val="F26B43"/>
          </p15:clr>
        </p15:guide>
        <p15:guide id="5" orient="horz" pos="410">
          <p15:clr>
            <a:srgbClr val="F26B43"/>
          </p15:clr>
        </p15:guide>
        <p15:guide id="6" orient="horz" pos="4258">
          <p15:clr>
            <a:srgbClr val="F26B43"/>
          </p15:clr>
        </p15:guide>
        <p15:guide id="7" orient="horz" pos="2724">
          <p15:clr>
            <a:srgbClr val="F26B43"/>
          </p15:clr>
        </p15:guide>
        <p15:guide id="8" orient="horz" pos="2568">
          <p15:clr>
            <a:srgbClr val="F26B43"/>
          </p15:clr>
        </p15:guide>
        <p15:guide id="9" orient="horz" pos="2428">
          <p15:clr>
            <a:srgbClr val="F26B43"/>
          </p15:clr>
        </p15:guide>
        <p15:guide id="10" orient="horz" pos="1115">
          <p15:clr>
            <a:srgbClr val="F26B43"/>
          </p15:clr>
        </p15:guide>
        <p15:guide id="11" orient="horz" pos="1133" userDrawn="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placeholder 1"/>
          <p:cNvSpPr>
            <a:spLocks noGrp="1"/>
          </p:cNvSpPr>
          <p:nvPr>
            <p:ph type="title"/>
          </p:nvPr>
        </p:nvSpPr>
        <p:spPr>
          <a:xfrm>
            <a:off x="432198" y="727199"/>
            <a:ext cx="11340000" cy="68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Click to add Slide Title – increase font size for large audience – max. two lines</a:t>
            </a:r>
            <a:endParaRPr lang="en-GB" noProof="0" dirty="0"/>
          </a:p>
        </p:txBody>
      </p:sp>
      <p:sp>
        <p:nvSpPr>
          <p:cNvPr id="5" name="TEXT placeholder 1"/>
          <p:cNvSpPr>
            <a:spLocks noGrp="1"/>
          </p:cNvSpPr>
          <p:nvPr>
            <p:ph type="body" idx="1"/>
          </p:nvPr>
        </p:nvSpPr>
        <p:spPr>
          <a:xfrm>
            <a:off x="432197" y="1522800"/>
            <a:ext cx="11340000" cy="487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</p:txBody>
      </p:sp>
      <p:sp>
        <p:nvSpPr>
          <p:cNvPr id="31" name="FOOTER placeholder"/>
          <p:cNvSpPr>
            <a:spLocks noGrp="1"/>
          </p:cNvSpPr>
          <p:nvPr>
            <p:ph type="ftr" sz="quarter" idx="3"/>
          </p:nvPr>
        </p:nvSpPr>
        <p:spPr>
          <a:xfrm>
            <a:off x="8155320" y="6649625"/>
            <a:ext cx="3276000" cy="107722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r">
              <a:defRPr lang="en-GB" sz="700" spc="10" baseline="0">
                <a:solidFill>
                  <a:srgbClr val="7B8185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anske Text"/>
              <a:ea typeface="+mn-ea"/>
              <a:cs typeface="+mn-cs"/>
            </a:endParaRP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2"/>
          </p:nvPr>
        </p:nvSpPr>
        <p:spPr>
          <a:xfrm>
            <a:off x="432197" y="6956422"/>
            <a:ext cx="20880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9247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803" r:id="rId3"/>
    <p:sldLayoutId id="2147483731" r:id="rId4"/>
    <p:sldLayoutId id="2147483772" r:id="rId5"/>
    <p:sldLayoutId id="2147483789" r:id="rId6"/>
    <p:sldLayoutId id="2147483802" r:id="rId7"/>
    <p:sldLayoutId id="2147483788" r:id="rId8"/>
    <p:sldLayoutId id="2147483801" r:id="rId9"/>
    <p:sldLayoutId id="2147483800" r:id="rId10"/>
    <p:sldLayoutId id="2147483799" r:id="rId11"/>
    <p:sldLayoutId id="2147483798" r:id="rId12"/>
    <p:sldLayoutId id="2147483797" r:id="rId13"/>
    <p:sldLayoutId id="2147483796" r:id="rId14"/>
    <p:sldLayoutId id="2147483779" r:id="rId15"/>
    <p:sldLayoutId id="2147483795" r:id="rId16"/>
    <p:sldLayoutId id="2147483794" r:id="rId17"/>
    <p:sldLayoutId id="2147483776" r:id="rId18"/>
    <p:sldLayoutId id="2147483792" r:id="rId19"/>
    <p:sldLayoutId id="2147483793" r:id="rId20"/>
    <p:sldLayoutId id="2147483724" r:id="rId21"/>
    <p:sldLayoutId id="2147483782" r:id="rId22"/>
    <p:sldLayoutId id="2147483728" r:id="rId23"/>
    <p:sldLayoutId id="2147483729" r:id="rId24"/>
    <p:sldLayoutId id="2147483773" r:id="rId25"/>
    <p:sldLayoutId id="2147483774" r:id="rId26"/>
    <p:sldLayoutId id="2147483806" r:id="rId27"/>
    <p:sldLayoutId id="2147483804" r:id="rId28"/>
    <p:sldLayoutId id="2147483805" r:id="rId29"/>
    <p:sldLayoutId id="2147483722" r:id="rId30"/>
    <p:sldLayoutId id="2147483807" r:id="rId31"/>
    <p:sldLayoutId id="2147483808" r:id="rId32"/>
    <p:sldLayoutId id="2147483811" r:id="rId3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2400" b="0" kern="1200" baseline="0" noProof="0" dirty="0">
          <a:solidFill>
            <a:srgbClr val="003755"/>
          </a:solidFill>
          <a:latin typeface="+mj-lt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Danske Text" panose="00000400000000000000" pitchFamily="2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003755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003755"/>
        </a:buClr>
        <a:buFont typeface="Danske Text" panose="00000400000000000000" pitchFamily="2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003755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Danske Text" panose="00000400000000000000" pitchFamily="2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003755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003755"/>
        </a:buClr>
        <a:buFont typeface="+mj-lt"/>
        <a:buAutoNum type="alphaL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540000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003755"/>
        </a:buClr>
        <a:buFont typeface="+mj-lt"/>
        <a:buAutoNum type="romanL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59" userDrawn="1">
          <p15:clr>
            <a:srgbClr val="F26B43"/>
          </p15:clr>
        </p15:guide>
        <p15:guide id="2" pos="271" userDrawn="1">
          <p15:clr>
            <a:srgbClr val="F26B43"/>
          </p15:clr>
        </p15:guide>
        <p15:guide id="3" pos="7416" userDrawn="1">
          <p15:clr>
            <a:srgbClr val="F26B43"/>
          </p15:clr>
        </p15:guide>
        <p15:guide id="4" orient="horz" pos="457" userDrawn="1">
          <p15:clr>
            <a:srgbClr val="F26B43"/>
          </p15:clr>
        </p15:guide>
        <p15:guide id="5" orient="horz" pos="889" userDrawn="1">
          <p15:clr>
            <a:srgbClr val="F26B43"/>
          </p15:clr>
        </p15:guide>
        <p15:guide id="6" orient="horz" pos="403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Churn Prevention – Scandinavian bank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smtClean="0"/>
              <a:t>GHCI presentation</a:t>
            </a:r>
          </a:p>
        </p:txBody>
      </p:sp>
    </p:spTree>
    <p:extLst>
      <p:ext uri="{BB962C8B-B14F-4D97-AF65-F5344CB8AC3E}">
        <p14:creationId xmlns:p14="http://schemas.microsoft.com/office/powerpoint/2010/main" val="572999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mtClean="0"/>
              <a:t>Key takeaway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Box 3"/>
          <p:cNvSpPr txBox="1"/>
          <p:nvPr/>
        </p:nvSpPr>
        <p:spPr>
          <a:xfrm>
            <a:off x="5147103" y="1982595"/>
            <a:ext cx="1752600" cy="430887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Danske Text" panose="00000400000000000000" pitchFamily="2" charset="0"/>
              <a:buNone/>
            </a:pPr>
            <a:r>
              <a:rPr lang="en-US" sz="2800" b="1" dirty="0" smtClean="0">
                <a:solidFill>
                  <a:srgbClr val="FF3B3B"/>
                </a:solidFill>
              </a:rPr>
              <a:t>DEMO </a:t>
            </a:r>
            <a:endParaRPr lang="en-IN" sz="2800" b="1" kern="1200" dirty="0" err="1" smtClean="0">
              <a:solidFill>
                <a:srgbClr val="FF3B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525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US" dirty="0" smtClean="0"/>
              <a:t>Churn Prevention </a:t>
            </a:r>
            <a:r>
              <a:rPr lang="en-US" dirty="0" smtClean="0"/>
              <a:t>Scandinavia – Learnings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is project allowed us to lay the groundwork for developing multiple churn prevention projects across business groups and market areas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Rectangle 1"/>
          <p:cNvSpPr/>
          <p:nvPr/>
        </p:nvSpPr>
        <p:spPr>
          <a:xfrm>
            <a:off x="952500" y="3105835"/>
            <a:ext cx="9144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n-US" sz="1600" dirty="0">
                <a:solidFill>
                  <a:schemeClr val="tx2"/>
                </a:solidFill>
              </a:rPr>
              <a:t>Three key aspects were identified as fundamental pillars to develop churn prevention solutions</a:t>
            </a:r>
            <a:endParaRPr lang="en-GB" sz="1600" dirty="0">
              <a:solidFill>
                <a:schemeClr val="tx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147103" y="1969895"/>
            <a:ext cx="1752600" cy="430887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Danske Text" panose="00000400000000000000" pitchFamily="2" charset="0"/>
              <a:buNone/>
            </a:pPr>
            <a:r>
              <a:rPr lang="en-US" sz="2800" b="1" dirty="0" smtClean="0">
                <a:solidFill>
                  <a:srgbClr val="FF3B3B"/>
                </a:solidFill>
              </a:rPr>
              <a:t>DEMO </a:t>
            </a:r>
            <a:endParaRPr lang="en-IN" sz="2800" b="1" kern="1200" dirty="0" err="1" smtClean="0">
              <a:solidFill>
                <a:srgbClr val="FF3B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881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US" dirty="0" smtClean="0"/>
              <a:t>ACOE Problem Solving Framework</a:t>
            </a:r>
            <a:endParaRPr lang="en-GB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31300" y="727199"/>
            <a:ext cx="11340000" cy="684000"/>
          </a:xfrm>
        </p:spPr>
        <p:txBody>
          <a:bodyPr/>
          <a:lstStyle/>
          <a:p>
            <a:r>
              <a:rPr lang="en-US" dirty="0" smtClean="0"/>
              <a:t>A robust </a:t>
            </a:r>
            <a:r>
              <a:rPr lang="en-US" dirty="0"/>
              <a:t>problem solving framework </a:t>
            </a:r>
            <a:r>
              <a:rPr lang="en-US" dirty="0" smtClean="0"/>
              <a:t>allows us to deliver holistic, end-to-end solutions </a:t>
            </a:r>
            <a:r>
              <a:rPr lang="en-US" dirty="0"/>
              <a:t>for the business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Freeform 13"/>
          <p:cNvSpPr/>
          <p:nvPr/>
        </p:nvSpPr>
        <p:spPr>
          <a:xfrm>
            <a:off x="431300" y="3625528"/>
            <a:ext cx="2448000" cy="648000"/>
          </a:xfrm>
          <a:custGeom>
            <a:avLst/>
            <a:gdLst>
              <a:gd name="connsiteX0" fmla="*/ 0 w 2458842"/>
              <a:gd name="connsiteY0" fmla="*/ 0 h 679622"/>
              <a:gd name="connsiteX1" fmla="*/ 2119031 w 2458842"/>
              <a:gd name="connsiteY1" fmla="*/ 0 h 679622"/>
              <a:gd name="connsiteX2" fmla="*/ 2458842 w 2458842"/>
              <a:gd name="connsiteY2" fmla="*/ 339811 h 679622"/>
              <a:gd name="connsiteX3" fmla="*/ 2119031 w 2458842"/>
              <a:gd name="connsiteY3" fmla="*/ 679622 h 679622"/>
              <a:gd name="connsiteX4" fmla="*/ 0 w 2458842"/>
              <a:gd name="connsiteY4" fmla="*/ 679622 h 679622"/>
              <a:gd name="connsiteX5" fmla="*/ 339811 w 2458842"/>
              <a:gd name="connsiteY5" fmla="*/ 339811 h 679622"/>
              <a:gd name="connsiteX6" fmla="*/ 0 w 2458842"/>
              <a:gd name="connsiteY6" fmla="*/ 0 h 679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58842" h="679622">
                <a:moveTo>
                  <a:pt x="0" y="0"/>
                </a:moveTo>
                <a:lnTo>
                  <a:pt x="2119031" y="0"/>
                </a:lnTo>
                <a:lnTo>
                  <a:pt x="2458842" y="339811"/>
                </a:lnTo>
                <a:lnTo>
                  <a:pt x="2119031" y="679622"/>
                </a:lnTo>
                <a:lnTo>
                  <a:pt x="0" y="679622"/>
                </a:lnTo>
                <a:lnTo>
                  <a:pt x="339811" y="339811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96000" tIns="0" rIns="324000" bIns="0" numCol="1" spcCol="1270" anchor="ctr" anchorCtr="0">
            <a:noAutofit/>
          </a:bodyPr>
          <a:lstStyle/>
          <a:p>
            <a:pPr lvl="0" algn="ctr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kern="1200" dirty="0" smtClean="0"/>
              <a:t>Scoping &amp; Problem Definition</a:t>
            </a:r>
            <a:endParaRPr lang="en-GB" sz="1600" kern="1200" dirty="0"/>
          </a:p>
        </p:txBody>
      </p:sp>
      <p:sp>
        <p:nvSpPr>
          <p:cNvPr id="15" name="Freeform 14"/>
          <p:cNvSpPr/>
          <p:nvPr/>
        </p:nvSpPr>
        <p:spPr>
          <a:xfrm>
            <a:off x="2654300" y="3625528"/>
            <a:ext cx="2448000" cy="648000"/>
          </a:xfrm>
          <a:custGeom>
            <a:avLst/>
            <a:gdLst>
              <a:gd name="connsiteX0" fmla="*/ 0 w 2458842"/>
              <a:gd name="connsiteY0" fmla="*/ 0 h 679622"/>
              <a:gd name="connsiteX1" fmla="*/ 2119031 w 2458842"/>
              <a:gd name="connsiteY1" fmla="*/ 0 h 679622"/>
              <a:gd name="connsiteX2" fmla="*/ 2458842 w 2458842"/>
              <a:gd name="connsiteY2" fmla="*/ 339811 h 679622"/>
              <a:gd name="connsiteX3" fmla="*/ 2119031 w 2458842"/>
              <a:gd name="connsiteY3" fmla="*/ 679622 h 679622"/>
              <a:gd name="connsiteX4" fmla="*/ 0 w 2458842"/>
              <a:gd name="connsiteY4" fmla="*/ 679622 h 679622"/>
              <a:gd name="connsiteX5" fmla="*/ 339811 w 2458842"/>
              <a:gd name="connsiteY5" fmla="*/ 339811 h 679622"/>
              <a:gd name="connsiteX6" fmla="*/ 0 w 2458842"/>
              <a:gd name="connsiteY6" fmla="*/ 0 h 679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58842" h="679622">
                <a:moveTo>
                  <a:pt x="0" y="0"/>
                </a:moveTo>
                <a:lnTo>
                  <a:pt x="2119031" y="0"/>
                </a:lnTo>
                <a:lnTo>
                  <a:pt x="2458842" y="339811"/>
                </a:lnTo>
                <a:lnTo>
                  <a:pt x="2119031" y="679622"/>
                </a:lnTo>
                <a:lnTo>
                  <a:pt x="0" y="679622"/>
                </a:lnTo>
                <a:lnTo>
                  <a:pt x="339811" y="339811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96000" tIns="0" rIns="324000" bIns="0" numCol="1" spcCol="1270" anchor="ctr" anchorCtr="0">
            <a:noAutofit/>
          </a:bodyPr>
          <a:lstStyle/>
          <a:p>
            <a:pPr lvl="0" algn="ctr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kern="1200" dirty="0" smtClean="0"/>
              <a:t>Data Gathering &amp; Analysis</a:t>
            </a:r>
            <a:endParaRPr lang="en-GB" sz="1600" kern="1200" dirty="0"/>
          </a:p>
        </p:txBody>
      </p:sp>
      <p:sp>
        <p:nvSpPr>
          <p:cNvPr id="16" name="Freeform 15"/>
          <p:cNvSpPr/>
          <p:nvPr/>
        </p:nvSpPr>
        <p:spPr>
          <a:xfrm>
            <a:off x="4877300" y="3625528"/>
            <a:ext cx="2448000" cy="648000"/>
          </a:xfrm>
          <a:custGeom>
            <a:avLst/>
            <a:gdLst>
              <a:gd name="connsiteX0" fmla="*/ 0 w 2458842"/>
              <a:gd name="connsiteY0" fmla="*/ 0 h 679622"/>
              <a:gd name="connsiteX1" fmla="*/ 2119031 w 2458842"/>
              <a:gd name="connsiteY1" fmla="*/ 0 h 679622"/>
              <a:gd name="connsiteX2" fmla="*/ 2458842 w 2458842"/>
              <a:gd name="connsiteY2" fmla="*/ 339811 h 679622"/>
              <a:gd name="connsiteX3" fmla="*/ 2119031 w 2458842"/>
              <a:gd name="connsiteY3" fmla="*/ 679622 h 679622"/>
              <a:gd name="connsiteX4" fmla="*/ 0 w 2458842"/>
              <a:gd name="connsiteY4" fmla="*/ 679622 h 679622"/>
              <a:gd name="connsiteX5" fmla="*/ 339811 w 2458842"/>
              <a:gd name="connsiteY5" fmla="*/ 339811 h 679622"/>
              <a:gd name="connsiteX6" fmla="*/ 0 w 2458842"/>
              <a:gd name="connsiteY6" fmla="*/ 0 h 679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58842" h="679622">
                <a:moveTo>
                  <a:pt x="0" y="0"/>
                </a:moveTo>
                <a:lnTo>
                  <a:pt x="2119031" y="0"/>
                </a:lnTo>
                <a:lnTo>
                  <a:pt x="2458842" y="339811"/>
                </a:lnTo>
                <a:lnTo>
                  <a:pt x="2119031" y="679622"/>
                </a:lnTo>
                <a:lnTo>
                  <a:pt x="0" y="679622"/>
                </a:lnTo>
                <a:lnTo>
                  <a:pt x="339811" y="339811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96000" tIns="0" rIns="324000" bIns="0" numCol="1" spcCol="1270" anchor="ctr" anchorCtr="0">
            <a:noAutofit/>
          </a:bodyPr>
          <a:lstStyle/>
          <a:p>
            <a:pPr lvl="0" algn="ctr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kern="1200" dirty="0" smtClean="0"/>
              <a:t>Modeling</a:t>
            </a:r>
            <a:endParaRPr lang="en-GB" sz="1600" kern="1200" dirty="0"/>
          </a:p>
        </p:txBody>
      </p:sp>
      <p:sp>
        <p:nvSpPr>
          <p:cNvPr id="17" name="Freeform 16"/>
          <p:cNvSpPr/>
          <p:nvPr/>
        </p:nvSpPr>
        <p:spPr>
          <a:xfrm>
            <a:off x="7100300" y="3625528"/>
            <a:ext cx="2448000" cy="648000"/>
          </a:xfrm>
          <a:custGeom>
            <a:avLst/>
            <a:gdLst>
              <a:gd name="connsiteX0" fmla="*/ 0 w 2458842"/>
              <a:gd name="connsiteY0" fmla="*/ 0 h 679622"/>
              <a:gd name="connsiteX1" fmla="*/ 2119031 w 2458842"/>
              <a:gd name="connsiteY1" fmla="*/ 0 h 679622"/>
              <a:gd name="connsiteX2" fmla="*/ 2458842 w 2458842"/>
              <a:gd name="connsiteY2" fmla="*/ 339811 h 679622"/>
              <a:gd name="connsiteX3" fmla="*/ 2119031 w 2458842"/>
              <a:gd name="connsiteY3" fmla="*/ 679622 h 679622"/>
              <a:gd name="connsiteX4" fmla="*/ 0 w 2458842"/>
              <a:gd name="connsiteY4" fmla="*/ 679622 h 679622"/>
              <a:gd name="connsiteX5" fmla="*/ 339811 w 2458842"/>
              <a:gd name="connsiteY5" fmla="*/ 339811 h 679622"/>
              <a:gd name="connsiteX6" fmla="*/ 0 w 2458842"/>
              <a:gd name="connsiteY6" fmla="*/ 0 h 679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58842" h="679622">
                <a:moveTo>
                  <a:pt x="0" y="0"/>
                </a:moveTo>
                <a:lnTo>
                  <a:pt x="2119031" y="0"/>
                </a:lnTo>
                <a:lnTo>
                  <a:pt x="2458842" y="339811"/>
                </a:lnTo>
                <a:lnTo>
                  <a:pt x="2119031" y="679622"/>
                </a:lnTo>
                <a:lnTo>
                  <a:pt x="0" y="679622"/>
                </a:lnTo>
                <a:lnTo>
                  <a:pt x="339811" y="339811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96000" tIns="0" rIns="324000" bIns="0" numCol="1" spcCol="1270" anchor="ctr" anchorCtr="0">
            <a:noAutofit/>
          </a:bodyPr>
          <a:lstStyle/>
          <a:p>
            <a:pPr lvl="0" algn="ctr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kern="1200" dirty="0" smtClean="0"/>
              <a:t>Presentation</a:t>
            </a:r>
            <a:endParaRPr lang="en-GB" sz="1600" kern="1200" dirty="0"/>
          </a:p>
        </p:txBody>
      </p:sp>
      <p:sp>
        <p:nvSpPr>
          <p:cNvPr id="18" name="Freeform 17"/>
          <p:cNvSpPr/>
          <p:nvPr/>
        </p:nvSpPr>
        <p:spPr>
          <a:xfrm>
            <a:off x="9323300" y="3625528"/>
            <a:ext cx="2448000" cy="648000"/>
          </a:xfrm>
          <a:custGeom>
            <a:avLst/>
            <a:gdLst>
              <a:gd name="connsiteX0" fmla="*/ 0 w 2458842"/>
              <a:gd name="connsiteY0" fmla="*/ 0 h 679622"/>
              <a:gd name="connsiteX1" fmla="*/ 2119031 w 2458842"/>
              <a:gd name="connsiteY1" fmla="*/ 0 h 679622"/>
              <a:gd name="connsiteX2" fmla="*/ 2458842 w 2458842"/>
              <a:gd name="connsiteY2" fmla="*/ 339811 h 679622"/>
              <a:gd name="connsiteX3" fmla="*/ 2119031 w 2458842"/>
              <a:gd name="connsiteY3" fmla="*/ 679622 h 679622"/>
              <a:gd name="connsiteX4" fmla="*/ 0 w 2458842"/>
              <a:gd name="connsiteY4" fmla="*/ 679622 h 679622"/>
              <a:gd name="connsiteX5" fmla="*/ 339811 w 2458842"/>
              <a:gd name="connsiteY5" fmla="*/ 339811 h 679622"/>
              <a:gd name="connsiteX6" fmla="*/ 0 w 2458842"/>
              <a:gd name="connsiteY6" fmla="*/ 0 h 679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58842" h="679622">
                <a:moveTo>
                  <a:pt x="0" y="0"/>
                </a:moveTo>
                <a:lnTo>
                  <a:pt x="2119031" y="0"/>
                </a:lnTo>
                <a:lnTo>
                  <a:pt x="2458842" y="339811"/>
                </a:lnTo>
                <a:lnTo>
                  <a:pt x="2119031" y="679622"/>
                </a:lnTo>
                <a:lnTo>
                  <a:pt x="0" y="679622"/>
                </a:lnTo>
                <a:lnTo>
                  <a:pt x="339811" y="339811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96000" tIns="0" rIns="324000" bIns="0" numCol="1" spcCol="1270" anchor="ctr" anchorCtr="0">
            <a:noAutofit/>
          </a:bodyPr>
          <a:lstStyle/>
          <a:p>
            <a:pPr lvl="0" algn="ctr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kern="1200" dirty="0" smtClean="0"/>
              <a:t>Consumption</a:t>
            </a:r>
            <a:endParaRPr lang="en-GB" sz="1600" kern="1200" dirty="0"/>
          </a:p>
        </p:txBody>
      </p:sp>
      <p:sp>
        <p:nvSpPr>
          <p:cNvPr id="13" name="TextBox 12"/>
          <p:cNvSpPr txBox="1"/>
          <p:nvPr/>
        </p:nvSpPr>
        <p:spPr>
          <a:xfrm>
            <a:off x="5147103" y="1969895"/>
            <a:ext cx="1752600" cy="430887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Danske Text" panose="00000400000000000000" pitchFamily="2" charset="0"/>
              <a:buNone/>
            </a:pPr>
            <a:r>
              <a:rPr lang="en-US" sz="2800" b="1" dirty="0" smtClean="0">
                <a:solidFill>
                  <a:srgbClr val="FF3B3B"/>
                </a:solidFill>
              </a:rPr>
              <a:t>DEMO </a:t>
            </a:r>
            <a:endParaRPr lang="en-IN" sz="2800" b="1" kern="1200" dirty="0" err="1" smtClean="0">
              <a:solidFill>
                <a:srgbClr val="FF3B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843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Appendix</a:t>
            </a:r>
            <a:endParaRPr lang="en-GB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9037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 smtClean="0"/>
              <a:t>Churn Prevention </a:t>
            </a:r>
            <a:r>
              <a:rPr lang="en-GB" dirty="0" smtClean="0"/>
              <a:t>Scandinavia – Business Objective &amp; </a:t>
            </a:r>
            <a:r>
              <a:rPr lang="en-GB" dirty="0"/>
              <a:t>S</a:t>
            </a:r>
            <a:r>
              <a:rPr lang="en-GB" dirty="0" smtClean="0"/>
              <a:t>olution Overview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32198" y="727199"/>
            <a:ext cx="11340000" cy="684000"/>
          </a:xfrm>
        </p:spPr>
        <p:txBody>
          <a:bodyPr/>
          <a:lstStyle/>
          <a:p>
            <a:r>
              <a:rPr lang="en-GB" dirty="0" smtClean="0"/>
              <a:t>A revamped </a:t>
            </a:r>
            <a:r>
              <a:rPr lang="en-GB" dirty="0" smtClean="0"/>
              <a:t>“Churn Prevention” </a:t>
            </a:r>
            <a:r>
              <a:rPr lang="en-GB" dirty="0" smtClean="0"/>
              <a:t>solution needed to be developed to improve upon </a:t>
            </a:r>
            <a:r>
              <a:rPr lang="en-GB" dirty="0"/>
              <a:t>challenges in </a:t>
            </a:r>
            <a:r>
              <a:rPr lang="en-GB" dirty="0" smtClean="0"/>
              <a:t>existing </a:t>
            </a:r>
            <a:r>
              <a:rPr lang="en-GB" dirty="0" smtClean="0"/>
              <a:t>churn </a:t>
            </a:r>
            <a:r>
              <a:rPr lang="en-GB" dirty="0" smtClean="0"/>
              <a:t>prevention efforts</a:t>
            </a:r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432198" y="2525600"/>
            <a:ext cx="11340000" cy="1806801"/>
            <a:chOff x="432198" y="1901600"/>
            <a:chExt cx="11340000" cy="1806801"/>
          </a:xfrm>
        </p:grpSpPr>
        <p:sp>
          <p:nvSpPr>
            <p:cNvPr id="26" name="TextBox 25"/>
            <p:cNvSpPr txBox="1"/>
            <p:nvPr/>
          </p:nvSpPr>
          <p:spPr>
            <a:xfrm>
              <a:off x="6526924" y="1914301"/>
              <a:ext cx="5209680" cy="1794100"/>
            </a:xfrm>
            <a:prstGeom prst="rect">
              <a:avLst/>
            </a:prstGeom>
            <a:noFill/>
            <a:ln>
              <a:solidFill>
                <a:srgbClr val="D6EDE7"/>
              </a:solidFill>
            </a:ln>
          </p:spPr>
          <p:txBody>
            <a:bodyPr wrap="square" lIns="144000" tIns="144000" rIns="144000" bIns="72000" rtlCol="0">
              <a:noAutofit/>
            </a:bodyPr>
            <a:lstStyle/>
            <a:p>
              <a:endParaRPr lang="en-GB" sz="1600" b="1" dirty="0" smtClean="0">
                <a:solidFill>
                  <a:srgbClr val="003755"/>
                </a:solidFill>
              </a:endParaRPr>
            </a:p>
            <a:p>
              <a:pPr marL="625475"/>
              <a:r>
                <a:rPr lang="en-GB" sz="1600" b="1" dirty="0" smtClean="0">
                  <a:solidFill>
                    <a:srgbClr val="003755"/>
                  </a:solidFill>
                </a:rPr>
                <a:t>Solution </a:t>
              </a:r>
              <a:r>
                <a:rPr lang="en-GB" sz="1600" b="1" dirty="0">
                  <a:solidFill>
                    <a:srgbClr val="003755"/>
                  </a:solidFill>
                </a:rPr>
                <a:t>overview</a:t>
              </a:r>
            </a:p>
            <a:p>
              <a:endParaRPr lang="en-GB" sz="600" b="1" dirty="0" smtClean="0">
                <a:solidFill>
                  <a:srgbClr val="003755"/>
                </a:solidFill>
              </a:endParaRPr>
            </a:p>
            <a:p>
              <a:endParaRPr lang="en-GB" sz="1600" b="1" dirty="0">
                <a:solidFill>
                  <a:srgbClr val="003755"/>
                </a:solidFill>
              </a:endParaRPr>
            </a:p>
          </p:txBody>
        </p:sp>
        <p:sp>
          <p:nvSpPr>
            <p:cNvPr id="27" name="Freeform 26"/>
            <p:cNvSpPr/>
            <p:nvPr/>
          </p:nvSpPr>
          <p:spPr>
            <a:xfrm>
              <a:off x="6526924" y="1901600"/>
              <a:ext cx="5245274" cy="0"/>
            </a:xfrm>
            <a:custGeom>
              <a:avLst/>
              <a:gdLst>
                <a:gd name="connsiteX0" fmla="*/ 0 w 3238500"/>
                <a:gd name="connsiteY0" fmla="*/ 0 h 0"/>
                <a:gd name="connsiteX1" fmla="*/ 3238500 w 32385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38500">
                  <a:moveTo>
                    <a:pt x="0" y="0"/>
                  </a:moveTo>
                  <a:lnTo>
                    <a:pt x="3238500" y="0"/>
                  </a:lnTo>
                </a:path>
              </a:pathLst>
            </a:custGeom>
            <a:noFill/>
            <a:ln w="19050" cap="sq">
              <a:solidFill>
                <a:srgbClr val="09B89D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432198" y="1914301"/>
              <a:ext cx="5209680" cy="1794100"/>
            </a:xfrm>
            <a:prstGeom prst="rect">
              <a:avLst/>
            </a:prstGeom>
            <a:noFill/>
            <a:ln>
              <a:solidFill>
                <a:srgbClr val="E0EEF5"/>
              </a:solidFill>
            </a:ln>
          </p:spPr>
          <p:txBody>
            <a:bodyPr wrap="square" lIns="144000" tIns="144000" rIns="144000" bIns="72000" rtlCol="0">
              <a:noAutofit/>
            </a:bodyPr>
            <a:lstStyle/>
            <a:p>
              <a:pPr marL="452438"/>
              <a:r>
                <a:rPr lang="en-GB" sz="1600" b="1" dirty="0" smtClean="0">
                  <a:solidFill>
                    <a:srgbClr val="003755"/>
                  </a:solidFill>
                </a:rPr>
                <a:t>Background </a:t>
              </a:r>
              <a:r>
                <a:rPr lang="en-GB" sz="1600" b="1" dirty="0">
                  <a:solidFill>
                    <a:srgbClr val="003755"/>
                  </a:solidFill>
                </a:rPr>
                <a:t>&amp; </a:t>
              </a:r>
              <a:r>
                <a:rPr lang="en-GB" sz="1600" b="1" dirty="0" smtClean="0">
                  <a:solidFill>
                    <a:srgbClr val="003755"/>
                  </a:solidFill>
                </a:rPr>
                <a:t>objective</a:t>
              </a:r>
            </a:p>
            <a:p>
              <a:endParaRPr lang="en-GB" sz="600" b="1" dirty="0" smtClean="0">
                <a:solidFill>
                  <a:srgbClr val="003755"/>
                </a:solidFill>
              </a:endParaRPr>
            </a:p>
            <a:p>
              <a:pPr marL="180000" indent="-180000">
                <a:buClr>
                  <a:schemeClr val="accent1"/>
                </a:buClr>
                <a:buFont typeface="Danske Text" panose="00000400000000000000" pitchFamily="2" charset="0"/>
                <a:buChar char="•"/>
              </a:pPr>
              <a:endParaRPr lang="en-GB" sz="1600" dirty="0"/>
            </a:p>
          </p:txBody>
        </p:sp>
        <p:sp>
          <p:nvSpPr>
            <p:cNvPr id="22" name="Freeform 21"/>
            <p:cNvSpPr/>
            <p:nvPr/>
          </p:nvSpPr>
          <p:spPr>
            <a:xfrm>
              <a:off x="432198" y="1901600"/>
              <a:ext cx="5245274" cy="0"/>
            </a:xfrm>
            <a:custGeom>
              <a:avLst/>
              <a:gdLst>
                <a:gd name="connsiteX0" fmla="*/ 0 w 3238500"/>
                <a:gd name="connsiteY0" fmla="*/ 0 h 0"/>
                <a:gd name="connsiteX1" fmla="*/ 3238500 w 32385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38500">
                  <a:moveTo>
                    <a:pt x="0" y="0"/>
                  </a:moveTo>
                  <a:lnTo>
                    <a:pt x="3238500" y="0"/>
                  </a:lnTo>
                </a:path>
              </a:pathLst>
            </a:custGeom>
            <a:noFill/>
            <a:ln w="19050" cap="sq">
              <a:solidFill>
                <a:srgbClr val="003755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/>
            </a:p>
          </p:txBody>
        </p:sp>
        <p:sp>
          <p:nvSpPr>
            <p:cNvPr id="33" name="Checklist"/>
            <p:cNvSpPr>
              <a:spLocks noChangeAspect="1"/>
            </p:cNvSpPr>
            <p:nvPr>
              <p:custDataLst>
                <p:tags r:id="rId1"/>
              </p:custDataLst>
            </p:nvPr>
          </p:nvSpPr>
          <p:spPr bwMode="auto">
            <a:xfrm>
              <a:off x="594026" y="2070149"/>
              <a:ext cx="301899" cy="450000"/>
            </a:xfrm>
            <a:custGeom>
              <a:avLst/>
              <a:gdLst>
                <a:gd name="connsiteX0" fmla="*/ 426972 w 925513"/>
                <a:gd name="connsiteY0" fmla="*/ 1046163 h 1379538"/>
                <a:gd name="connsiteX1" fmla="*/ 757303 w 925513"/>
                <a:gd name="connsiteY1" fmla="*/ 1046163 h 1379538"/>
                <a:gd name="connsiteX2" fmla="*/ 776287 w 925513"/>
                <a:gd name="connsiteY2" fmla="*/ 1065213 h 1379538"/>
                <a:gd name="connsiteX3" fmla="*/ 757303 w 925513"/>
                <a:gd name="connsiteY3" fmla="*/ 1084263 h 1379538"/>
                <a:gd name="connsiteX4" fmla="*/ 426972 w 925513"/>
                <a:gd name="connsiteY4" fmla="*/ 1084263 h 1379538"/>
                <a:gd name="connsiteX5" fmla="*/ 407987 w 925513"/>
                <a:gd name="connsiteY5" fmla="*/ 1065213 h 1379538"/>
                <a:gd name="connsiteX6" fmla="*/ 426972 w 925513"/>
                <a:gd name="connsiteY6" fmla="*/ 1046163 h 1379538"/>
                <a:gd name="connsiteX7" fmla="*/ 187325 w 925513"/>
                <a:gd name="connsiteY7" fmla="*/ 1004888 h 1379538"/>
                <a:gd name="connsiteX8" fmla="*/ 187325 w 925513"/>
                <a:gd name="connsiteY8" fmla="*/ 1125538 h 1379538"/>
                <a:gd name="connsiteX9" fmla="*/ 312738 w 925513"/>
                <a:gd name="connsiteY9" fmla="*/ 1125538 h 1379538"/>
                <a:gd name="connsiteX10" fmla="*/ 312738 w 925513"/>
                <a:gd name="connsiteY10" fmla="*/ 1004888 h 1379538"/>
                <a:gd name="connsiteX11" fmla="*/ 168245 w 925513"/>
                <a:gd name="connsiteY11" fmla="*/ 966788 h 1379538"/>
                <a:gd name="connsiteX12" fmla="*/ 331818 w 925513"/>
                <a:gd name="connsiteY12" fmla="*/ 966788 h 1379538"/>
                <a:gd name="connsiteX13" fmla="*/ 350838 w 925513"/>
                <a:gd name="connsiteY13" fmla="*/ 985716 h 1379538"/>
                <a:gd name="connsiteX14" fmla="*/ 350838 w 925513"/>
                <a:gd name="connsiteY14" fmla="*/ 1144710 h 1379538"/>
                <a:gd name="connsiteX15" fmla="*/ 331818 w 925513"/>
                <a:gd name="connsiteY15" fmla="*/ 1163638 h 1379538"/>
                <a:gd name="connsiteX16" fmla="*/ 168245 w 925513"/>
                <a:gd name="connsiteY16" fmla="*/ 1163638 h 1379538"/>
                <a:gd name="connsiteX17" fmla="*/ 153029 w 925513"/>
                <a:gd name="connsiteY17" fmla="*/ 1159853 h 1379538"/>
                <a:gd name="connsiteX18" fmla="*/ 149225 w 925513"/>
                <a:gd name="connsiteY18" fmla="*/ 1144710 h 1379538"/>
                <a:gd name="connsiteX19" fmla="*/ 149225 w 925513"/>
                <a:gd name="connsiteY19" fmla="*/ 985716 h 1379538"/>
                <a:gd name="connsiteX20" fmla="*/ 168245 w 925513"/>
                <a:gd name="connsiteY20" fmla="*/ 966788 h 1379538"/>
                <a:gd name="connsiteX21" fmla="*/ 426972 w 925513"/>
                <a:gd name="connsiteY21" fmla="*/ 777875 h 1379538"/>
                <a:gd name="connsiteX22" fmla="*/ 757303 w 925513"/>
                <a:gd name="connsiteY22" fmla="*/ 777875 h 1379538"/>
                <a:gd name="connsiteX23" fmla="*/ 776287 w 925513"/>
                <a:gd name="connsiteY23" fmla="*/ 796925 h 1379538"/>
                <a:gd name="connsiteX24" fmla="*/ 757303 w 925513"/>
                <a:gd name="connsiteY24" fmla="*/ 815975 h 1379538"/>
                <a:gd name="connsiteX25" fmla="*/ 426972 w 925513"/>
                <a:gd name="connsiteY25" fmla="*/ 815975 h 1379538"/>
                <a:gd name="connsiteX26" fmla="*/ 407987 w 925513"/>
                <a:gd name="connsiteY26" fmla="*/ 796925 h 1379538"/>
                <a:gd name="connsiteX27" fmla="*/ 426972 w 925513"/>
                <a:gd name="connsiteY27" fmla="*/ 777875 h 1379538"/>
                <a:gd name="connsiteX28" fmla="*/ 168245 w 925513"/>
                <a:gd name="connsiteY28" fmla="*/ 695325 h 1379538"/>
                <a:gd name="connsiteX29" fmla="*/ 331818 w 925513"/>
                <a:gd name="connsiteY29" fmla="*/ 695325 h 1379538"/>
                <a:gd name="connsiteX30" fmla="*/ 350838 w 925513"/>
                <a:gd name="connsiteY30" fmla="*/ 714195 h 1379538"/>
                <a:gd name="connsiteX31" fmla="*/ 350838 w 925513"/>
                <a:gd name="connsiteY31" fmla="*/ 717969 h 1379538"/>
                <a:gd name="connsiteX32" fmla="*/ 240521 w 925513"/>
                <a:gd name="connsiteY32" fmla="*/ 823643 h 1379538"/>
                <a:gd name="connsiteX33" fmla="*/ 198677 w 925513"/>
                <a:gd name="connsiteY33" fmla="*/ 782128 h 1379538"/>
                <a:gd name="connsiteX34" fmla="*/ 172049 w 925513"/>
                <a:gd name="connsiteY34" fmla="*/ 782128 h 1379538"/>
                <a:gd name="connsiteX35" fmla="*/ 172049 w 925513"/>
                <a:gd name="connsiteY35" fmla="*/ 808547 h 1379538"/>
                <a:gd name="connsiteX36" fmla="*/ 225305 w 925513"/>
                <a:gd name="connsiteY36" fmla="*/ 865158 h 1379538"/>
                <a:gd name="connsiteX37" fmla="*/ 240521 w 925513"/>
                <a:gd name="connsiteY37" fmla="*/ 872706 h 1379538"/>
                <a:gd name="connsiteX38" fmla="*/ 255737 w 925513"/>
                <a:gd name="connsiteY38" fmla="*/ 865158 h 1379538"/>
                <a:gd name="connsiteX39" fmla="*/ 350838 w 925513"/>
                <a:gd name="connsiteY39" fmla="*/ 770806 h 1379538"/>
                <a:gd name="connsiteX40" fmla="*/ 350838 w 925513"/>
                <a:gd name="connsiteY40" fmla="*/ 876480 h 1379538"/>
                <a:gd name="connsiteX41" fmla="*/ 331818 w 925513"/>
                <a:gd name="connsiteY41" fmla="*/ 895350 h 1379538"/>
                <a:gd name="connsiteX42" fmla="*/ 168245 w 925513"/>
                <a:gd name="connsiteY42" fmla="*/ 895350 h 1379538"/>
                <a:gd name="connsiteX43" fmla="*/ 153029 w 925513"/>
                <a:gd name="connsiteY43" fmla="*/ 891576 h 1379538"/>
                <a:gd name="connsiteX44" fmla="*/ 149225 w 925513"/>
                <a:gd name="connsiteY44" fmla="*/ 876480 h 1379538"/>
                <a:gd name="connsiteX45" fmla="*/ 149225 w 925513"/>
                <a:gd name="connsiteY45" fmla="*/ 714195 h 1379538"/>
                <a:gd name="connsiteX46" fmla="*/ 168245 w 925513"/>
                <a:gd name="connsiteY46" fmla="*/ 695325 h 1379538"/>
                <a:gd name="connsiteX47" fmla="*/ 426972 w 925513"/>
                <a:gd name="connsiteY47" fmla="*/ 503238 h 1379538"/>
                <a:gd name="connsiteX48" fmla="*/ 757303 w 925513"/>
                <a:gd name="connsiteY48" fmla="*/ 503238 h 1379538"/>
                <a:gd name="connsiteX49" fmla="*/ 776287 w 925513"/>
                <a:gd name="connsiteY49" fmla="*/ 521495 h 1379538"/>
                <a:gd name="connsiteX50" fmla="*/ 757303 w 925513"/>
                <a:gd name="connsiteY50" fmla="*/ 539751 h 1379538"/>
                <a:gd name="connsiteX51" fmla="*/ 426972 w 925513"/>
                <a:gd name="connsiteY51" fmla="*/ 539751 h 1379538"/>
                <a:gd name="connsiteX52" fmla="*/ 407987 w 925513"/>
                <a:gd name="connsiteY52" fmla="*/ 521495 h 1379538"/>
                <a:gd name="connsiteX53" fmla="*/ 426972 w 925513"/>
                <a:gd name="connsiteY53" fmla="*/ 503238 h 1379538"/>
                <a:gd name="connsiteX54" fmla="*/ 168245 w 925513"/>
                <a:gd name="connsiteY54" fmla="*/ 419100 h 1379538"/>
                <a:gd name="connsiteX55" fmla="*/ 331818 w 925513"/>
                <a:gd name="connsiteY55" fmla="*/ 419100 h 1379538"/>
                <a:gd name="connsiteX56" fmla="*/ 350838 w 925513"/>
                <a:gd name="connsiteY56" fmla="*/ 437970 h 1379538"/>
                <a:gd name="connsiteX57" fmla="*/ 350838 w 925513"/>
                <a:gd name="connsiteY57" fmla="*/ 441744 h 1379538"/>
                <a:gd name="connsiteX58" fmla="*/ 240521 w 925513"/>
                <a:gd name="connsiteY58" fmla="*/ 551192 h 1379538"/>
                <a:gd name="connsiteX59" fmla="*/ 198677 w 925513"/>
                <a:gd name="connsiteY59" fmla="*/ 505903 h 1379538"/>
                <a:gd name="connsiteX60" fmla="*/ 172049 w 925513"/>
                <a:gd name="connsiteY60" fmla="*/ 505903 h 1379538"/>
                <a:gd name="connsiteX61" fmla="*/ 172049 w 925513"/>
                <a:gd name="connsiteY61" fmla="*/ 532322 h 1379538"/>
                <a:gd name="connsiteX62" fmla="*/ 225305 w 925513"/>
                <a:gd name="connsiteY62" fmla="*/ 588933 h 1379538"/>
                <a:gd name="connsiteX63" fmla="*/ 240521 w 925513"/>
                <a:gd name="connsiteY63" fmla="*/ 596481 h 1379538"/>
                <a:gd name="connsiteX64" fmla="*/ 255737 w 925513"/>
                <a:gd name="connsiteY64" fmla="*/ 588933 h 1379538"/>
                <a:gd name="connsiteX65" fmla="*/ 350838 w 925513"/>
                <a:gd name="connsiteY65" fmla="*/ 494581 h 1379538"/>
                <a:gd name="connsiteX66" fmla="*/ 350838 w 925513"/>
                <a:gd name="connsiteY66" fmla="*/ 600255 h 1379538"/>
                <a:gd name="connsiteX67" fmla="*/ 331818 w 925513"/>
                <a:gd name="connsiteY67" fmla="*/ 619125 h 1379538"/>
                <a:gd name="connsiteX68" fmla="*/ 168245 w 925513"/>
                <a:gd name="connsiteY68" fmla="*/ 619125 h 1379538"/>
                <a:gd name="connsiteX69" fmla="*/ 149225 w 925513"/>
                <a:gd name="connsiteY69" fmla="*/ 600255 h 1379538"/>
                <a:gd name="connsiteX70" fmla="*/ 149225 w 925513"/>
                <a:gd name="connsiteY70" fmla="*/ 437970 h 1379538"/>
                <a:gd name="connsiteX71" fmla="*/ 168245 w 925513"/>
                <a:gd name="connsiteY71" fmla="*/ 419100 h 1379538"/>
                <a:gd name="connsiteX72" fmla="*/ 61862 w 925513"/>
                <a:gd name="connsiteY72" fmla="*/ 166688 h 1379538"/>
                <a:gd name="connsiteX73" fmla="*/ 42862 w 925513"/>
                <a:gd name="connsiteY73" fmla="*/ 185568 h 1379538"/>
                <a:gd name="connsiteX74" fmla="*/ 42862 w 925513"/>
                <a:gd name="connsiteY74" fmla="*/ 1314621 h 1379538"/>
                <a:gd name="connsiteX75" fmla="*/ 61862 w 925513"/>
                <a:gd name="connsiteY75" fmla="*/ 1333501 h 1379538"/>
                <a:gd name="connsiteX76" fmla="*/ 863650 w 925513"/>
                <a:gd name="connsiteY76" fmla="*/ 1333501 h 1379538"/>
                <a:gd name="connsiteX77" fmla="*/ 882650 w 925513"/>
                <a:gd name="connsiteY77" fmla="*/ 1314621 h 1379538"/>
                <a:gd name="connsiteX78" fmla="*/ 882650 w 925513"/>
                <a:gd name="connsiteY78" fmla="*/ 185568 h 1379538"/>
                <a:gd name="connsiteX79" fmla="*/ 863650 w 925513"/>
                <a:gd name="connsiteY79" fmla="*/ 166688 h 1379538"/>
                <a:gd name="connsiteX80" fmla="*/ 692653 w 925513"/>
                <a:gd name="connsiteY80" fmla="*/ 166688 h 1379538"/>
                <a:gd name="connsiteX81" fmla="*/ 692653 w 925513"/>
                <a:gd name="connsiteY81" fmla="*/ 257314 h 1379538"/>
                <a:gd name="connsiteX82" fmla="*/ 673653 w 925513"/>
                <a:gd name="connsiteY82" fmla="*/ 276195 h 1379538"/>
                <a:gd name="connsiteX83" fmla="*/ 251859 w 925513"/>
                <a:gd name="connsiteY83" fmla="*/ 276195 h 1379538"/>
                <a:gd name="connsiteX84" fmla="*/ 232859 w 925513"/>
                <a:gd name="connsiteY84" fmla="*/ 257314 h 1379538"/>
                <a:gd name="connsiteX85" fmla="*/ 232859 w 925513"/>
                <a:gd name="connsiteY85" fmla="*/ 166688 h 1379538"/>
                <a:gd name="connsiteX86" fmla="*/ 61862 w 925513"/>
                <a:gd name="connsiteY86" fmla="*/ 166688 h 1379538"/>
                <a:gd name="connsiteX87" fmla="*/ 271462 w 925513"/>
                <a:gd name="connsiteY87" fmla="*/ 125413 h 1379538"/>
                <a:gd name="connsiteX88" fmla="*/ 271462 w 925513"/>
                <a:gd name="connsiteY88" fmla="*/ 166688 h 1379538"/>
                <a:gd name="connsiteX89" fmla="*/ 271462 w 925513"/>
                <a:gd name="connsiteY89" fmla="*/ 238126 h 1379538"/>
                <a:gd name="connsiteX90" fmla="*/ 654050 w 925513"/>
                <a:gd name="connsiteY90" fmla="*/ 238126 h 1379538"/>
                <a:gd name="connsiteX91" fmla="*/ 654050 w 925513"/>
                <a:gd name="connsiteY91" fmla="*/ 166688 h 1379538"/>
                <a:gd name="connsiteX92" fmla="*/ 654050 w 925513"/>
                <a:gd name="connsiteY92" fmla="*/ 125413 h 1379538"/>
                <a:gd name="connsiteX93" fmla="*/ 464639 w 925513"/>
                <a:gd name="connsiteY93" fmla="*/ 38100 h 1379538"/>
                <a:gd name="connsiteX94" fmla="*/ 396875 w 925513"/>
                <a:gd name="connsiteY94" fmla="*/ 87313 h 1379538"/>
                <a:gd name="connsiteX95" fmla="*/ 528638 w 925513"/>
                <a:gd name="connsiteY95" fmla="*/ 87313 h 1379538"/>
                <a:gd name="connsiteX96" fmla="*/ 464639 w 925513"/>
                <a:gd name="connsiteY96" fmla="*/ 38100 h 1379538"/>
                <a:gd name="connsiteX97" fmla="*/ 464661 w 925513"/>
                <a:gd name="connsiteY97" fmla="*/ 0 h 1379538"/>
                <a:gd name="connsiteX98" fmla="*/ 571304 w 925513"/>
                <a:gd name="connsiteY98" fmla="*/ 86930 h 1379538"/>
                <a:gd name="connsiteX99" fmla="*/ 674139 w 925513"/>
                <a:gd name="connsiteY99" fmla="*/ 86930 h 1379538"/>
                <a:gd name="connsiteX100" fmla="*/ 693183 w 925513"/>
                <a:gd name="connsiteY100" fmla="*/ 105828 h 1379538"/>
                <a:gd name="connsiteX101" fmla="*/ 693183 w 925513"/>
                <a:gd name="connsiteY101" fmla="*/ 117166 h 1379538"/>
                <a:gd name="connsiteX102" fmla="*/ 906470 w 925513"/>
                <a:gd name="connsiteY102" fmla="*/ 117166 h 1379538"/>
                <a:gd name="connsiteX103" fmla="*/ 925513 w 925513"/>
                <a:gd name="connsiteY103" fmla="*/ 136064 h 1379538"/>
                <a:gd name="connsiteX104" fmla="*/ 925513 w 925513"/>
                <a:gd name="connsiteY104" fmla="*/ 1360640 h 1379538"/>
                <a:gd name="connsiteX105" fmla="*/ 906470 w 925513"/>
                <a:gd name="connsiteY105" fmla="*/ 1379538 h 1379538"/>
                <a:gd name="connsiteX106" fmla="*/ 19043 w 925513"/>
                <a:gd name="connsiteY106" fmla="*/ 1379538 h 1379538"/>
                <a:gd name="connsiteX107" fmla="*/ 0 w 925513"/>
                <a:gd name="connsiteY107" fmla="*/ 1360640 h 1379538"/>
                <a:gd name="connsiteX108" fmla="*/ 0 w 925513"/>
                <a:gd name="connsiteY108" fmla="*/ 136064 h 1379538"/>
                <a:gd name="connsiteX109" fmla="*/ 19043 w 925513"/>
                <a:gd name="connsiteY109" fmla="*/ 117166 h 1379538"/>
                <a:gd name="connsiteX110" fmla="*/ 232330 w 925513"/>
                <a:gd name="connsiteY110" fmla="*/ 117166 h 1379538"/>
                <a:gd name="connsiteX111" fmla="*/ 232330 w 925513"/>
                <a:gd name="connsiteY111" fmla="*/ 105828 h 1379538"/>
                <a:gd name="connsiteX112" fmla="*/ 251374 w 925513"/>
                <a:gd name="connsiteY112" fmla="*/ 86930 h 1379538"/>
                <a:gd name="connsiteX113" fmla="*/ 358017 w 925513"/>
                <a:gd name="connsiteY113" fmla="*/ 86930 h 1379538"/>
                <a:gd name="connsiteX114" fmla="*/ 464661 w 925513"/>
                <a:gd name="connsiteY114" fmla="*/ 0 h 1379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925513" h="1379538">
                  <a:moveTo>
                    <a:pt x="426972" y="1046163"/>
                  </a:moveTo>
                  <a:cubicBezTo>
                    <a:pt x="426972" y="1046163"/>
                    <a:pt x="426972" y="1046163"/>
                    <a:pt x="757303" y="1046163"/>
                  </a:cubicBezTo>
                  <a:cubicBezTo>
                    <a:pt x="768693" y="1046163"/>
                    <a:pt x="776287" y="1053783"/>
                    <a:pt x="776287" y="1065213"/>
                  </a:cubicBezTo>
                  <a:cubicBezTo>
                    <a:pt x="776287" y="1076643"/>
                    <a:pt x="768693" y="1084263"/>
                    <a:pt x="757303" y="1084263"/>
                  </a:cubicBezTo>
                  <a:cubicBezTo>
                    <a:pt x="757303" y="1084263"/>
                    <a:pt x="757303" y="1084263"/>
                    <a:pt x="426972" y="1084263"/>
                  </a:cubicBezTo>
                  <a:cubicBezTo>
                    <a:pt x="419378" y="1084263"/>
                    <a:pt x="407987" y="1076643"/>
                    <a:pt x="407987" y="1065213"/>
                  </a:cubicBezTo>
                  <a:cubicBezTo>
                    <a:pt x="407987" y="1053783"/>
                    <a:pt x="419378" y="1046163"/>
                    <a:pt x="426972" y="1046163"/>
                  </a:cubicBezTo>
                  <a:close/>
                  <a:moveTo>
                    <a:pt x="187325" y="1004888"/>
                  </a:moveTo>
                  <a:lnTo>
                    <a:pt x="187325" y="1125538"/>
                  </a:lnTo>
                  <a:lnTo>
                    <a:pt x="312738" y="1125538"/>
                  </a:lnTo>
                  <a:lnTo>
                    <a:pt x="312738" y="1004888"/>
                  </a:lnTo>
                  <a:close/>
                  <a:moveTo>
                    <a:pt x="168245" y="966788"/>
                  </a:moveTo>
                  <a:cubicBezTo>
                    <a:pt x="331818" y="966788"/>
                    <a:pt x="331818" y="966788"/>
                    <a:pt x="331818" y="966788"/>
                  </a:cubicBezTo>
                  <a:cubicBezTo>
                    <a:pt x="339426" y="966788"/>
                    <a:pt x="350838" y="974359"/>
                    <a:pt x="350838" y="985716"/>
                  </a:cubicBezTo>
                  <a:cubicBezTo>
                    <a:pt x="350838" y="1144710"/>
                    <a:pt x="350838" y="1144710"/>
                    <a:pt x="350838" y="1144710"/>
                  </a:cubicBezTo>
                  <a:cubicBezTo>
                    <a:pt x="350838" y="1156067"/>
                    <a:pt x="339426" y="1163638"/>
                    <a:pt x="331818" y="1163638"/>
                  </a:cubicBezTo>
                  <a:lnTo>
                    <a:pt x="168245" y="1163638"/>
                  </a:lnTo>
                  <a:cubicBezTo>
                    <a:pt x="164441" y="1163638"/>
                    <a:pt x="156833" y="1163638"/>
                    <a:pt x="153029" y="1159853"/>
                  </a:cubicBezTo>
                  <a:cubicBezTo>
                    <a:pt x="149225" y="1156067"/>
                    <a:pt x="149225" y="1152281"/>
                    <a:pt x="149225" y="1144710"/>
                  </a:cubicBezTo>
                  <a:cubicBezTo>
                    <a:pt x="149225" y="985716"/>
                    <a:pt x="149225" y="985716"/>
                    <a:pt x="149225" y="985716"/>
                  </a:cubicBezTo>
                  <a:cubicBezTo>
                    <a:pt x="149225" y="974359"/>
                    <a:pt x="156833" y="966788"/>
                    <a:pt x="168245" y="966788"/>
                  </a:cubicBezTo>
                  <a:close/>
                  <a:moveTo>
                    <a:pt x="426972" y="777875"/>
                  </a:moveTo>
                  <a:cubicBezTo>
                    <a:pt x="426972" y="777875"/>
                    <a:pt x="426972" y="777875"/>
                    <a:pt x="757303" y="777875"/>
                  </a:cubicBezTo>
                  <a:cubicBezTo>
                    <a:pt x="768693" y="777875"/>
                    <a:pt x="776287" y="785495"/>
                    <a:pt x="776287" y="796925"/>
                  </a:cubicBezTo>
                  <a:cubicBezTo>
                    <a:pt x="776287" y="804545"/>
                    <a:pt x="768693" y="815975"/>
                    <a:pt x="757303" y="815975"/>
                  </a:cubicBezTo>
                  <a:cubicBezTo>
                    <a:pt x="757303" y="815975"/>
                    <a:pt x="757303" y="815975"/>
                    <a:pt x="426972" y="815975"/>
                  </a:cubicBezTo>
                  <a:cubicBezTo>
                    <a:pt x="419378" y="815975"/>
                    <a:pt x="407987" y="804545"/>
                    <a:pt x="407987" y="796925"/>
                  </a:cubicBezTo>
                  <a:cubicBezTo>
                    <a:pt x="407987" y="785495"/>
                    <a:pt x="419378" y="777875"/>
                    <a:pt x="426972" y="777875"/>
                  </a:cubicBezTo>
                  <a:close/>
                  <a:moveTo>
                    <a:pt x="168245" y="695325"/>
                  </a:moveTo>
                  <a:cubicBezTo>
                    <a:pt x="168245" y="695325"/>
                    <a:pt x="168245" y="695325"/>
                    <a:pt x="331818" y="695325"/>
                  </a:cubicBezTo>
                  <a:cubicBezTo>
                    <a:pt x="339426" y="695325"/>
                    <a:pt x="350838" y="702873"/>
                    <a:pt x="350838" y="714195"/>
                  </a:cubicBezTo>
                  <a:cubicBezTo>
                    <a:pt x="350838" y="714195"/>
                    <a:pt x="350838" y="714195"/>
                    <a:pt x="350838" y="717969"/>
                  </a:cubicBezTo>
                  <a:cubicBezTo>
                    <a:pt x="350838" y="717969"/>
                    <a:pt x="350838" y="717969"/>
                    <a:pt x="240521" y="823643"/>
                  </a:cubicBezTo>
                  <a:cubicBezTo>
                    <a:pt x="240521" y="823643"/>
                    <a:pt x="240521" y="823643"/>
                    <a:pt x="198677" y="782128"/>
                  </a:cubicBezTo>
                  <a:cubicBezTo>
                    <a:pt x="194873" y="774580"/>
                    <a:pt x="179657" y="774580"/>
                    <a:pt x="172049" y="782128"/>
                  </a:cubicBezTo>
                  <a:cubicBezTo>
                    <a:pt x="164441" y="789677"/>
                    <a:pt x="164441" y="800999"/>
                    <a:pt x="172049" y="808547"/>
                  </a:cubicBezTo>
                  <a:cubicBezTo>
                    <a:pt x="172049" y="808547"/>
                    <a:pt x="172049" y="808547"/>
                    <a:pt x="225305" y="865158"/>
                  </a:cubicBezTo>
                  <a:cubicBezTo>
                    <a:pt x="229109" y="868932"/>
                    <a:pt x="236717" y="872706"/>
                    <a:pt x="240521" y="872706"/>
                  </a:cubicBezTo>
                  <a:cubicBezTo>
                    <a:pt x="244325" y="872706"/>
                    <a:pt x="251933" y="868932"/>
                    <a:pt x="255737" y="865158"/>
                  </a:cubicBezTo>
                  <a:cubicBezTo>
                    <a:pt x="255737" y="865158"/>
                    <a:pt x="255737" y="865158"/>
                    <a:pt x="350838" y="770806"/>
                  </a:cubicBezTo>
                  <a:cubicBezTo>
                    <a:pt x="350838" y="770806"/>
                    <a:pt x="350838" y="770806"/>
                    <a:pt x="350838" y="876480"/>
                  </a:cubicBezTo>
                  <a:cubicBezTo>
                    <a:pt x="350838" y="887802"/>
                    <a:pt x="339426" y="895350"/>
                    <a:pt x="331818" y="895350"/>
                  </a:cubicBezTo>
                  <a:cubicBezTo>
                    <a:pt x="331818" y="895350"/>
                    <a:pt x="331818" y="895350"/>
                    <a:pt x="168245" y="895350"/>
                  </a:cubicBezTo>
                  <a:cubicBezTo>
                    <a:pt x="160637" y="895350"/>
                    <a:pt x="156833" y="891576"/>
                    <a:pt x="153029" y="891576"/>
                  </a:cubicBezTo>
                  <a:cubicBezTo>
                    <a:pt x="149225" y="887802"/>
                    <a:pt x="149225" y="880254"/>
                    <a:pt x="149225" y="876480"/>
                  </a:cubicBezTo>
                  <a:cubicBezTo>
                    <a:pt x="149225" y="876480"/>
                    <a:pt x="149225" y="876480"/>
                    <a:pt x="149225" y="714195"/>
                  </a:cubicBezTo>
                  <a:cubicBezTo>
                    <a:pt x="149225" y="702873"/>
                    <a:pt x="156833" y="695325"/>
                    <a:pt x="168245" y="695325"/>
                  </a:cubicBezTo>
                  <a:close/>
                  <a:moveTo>
                    <a:pt x="426972" y="503238"/>
                  </a:moveTo>
                  <a:cubicBezTo>
                    <a:pt x="426972" y="503238"/>
                    <a:pt x="426972" y="503238"/>
                    <a:pt x="757303" y="503238"/>
                  </a:cubicBezTo>
                  <a:cubicBezTo>
                    <a:pt x="768693" y="503238"/>
                    <a:pt x="776287" y="510541"/>
                    <a:pt x="776287" y="521495"/>
                  </a:cubicBezTo>
                  <a:cubicBezTo>
                    <a:pt x="776287" y="532448"/>
                    <a:pt x="768693" y="539751"/>
                    <a:pt x="757303" y="539751"/>
                  </a:cubicBezTo>
                  <a:cubicBezTo>
                    <a:pt x="757303" y="539751"/>
                    <a:pt x="757303" y="539751"/>
                    <a:pt x="426972" y="539751"/>
                  </a:cubicBezTo>
                  <a:cubicBezTo>
                    <a:pt x="419378" y="539751"/>
                    <a:pt x="407987" y="532448"/>
                    <a:pt x="407987" y="521495"/>
                  </a:cubicBezTo>
                  <a:cubicBezTo>
                    <a:pt x="407987" y="510541"/>
                    <a:pt x="419378" y="503238"/>
                    <a:pt x="426972" y="503238"/>
                  </a:cubicBezTo>
                  <a:close/>
                  <a:moveTo>
                    <a:pt x="168245" y="419100"/>
                  </a:moveTo>
                  <a:cubicBezTo>
                    <a:pt x="168245" y="419100"/>
                    <a:pt x="168245" y="419100"/>
                    <a:pt x="331818" y="419100"/>
                  </a:cubicBezTo>
                  <a:cubicBezTo>
                    <a:pt x="339426" y="419100"/>
                    <a:pt x="350838" y="430422"/>
                    <a:pt x="350838" y="437970"/>
                  </a:cubicBezTo>
                  <a:cubicBezTo>
                    <a:pt x="350838" y="437970"/>
                    <a:pt x="350838" y="437970"/>
                    <a:pt x="350838" y="441744"/>
                  </a:cubicBezTo>
                  <a:cubicBezTo>
                    <a:pt x="350838" y="441744"/>
                    <a:pt x="350838" y="441744"/>
                    <a:pt x="240521" y="551192"/>
                  </a:cubicBezTo>
                  <a:cubicBezTo>
                    <a:pt x="240521" y="551192"/>
                    <a:pt x="240521" y="551192"/>
                    <a:pt x="198677" y="505903"/>
                  </a:cubicBezTo>
                  <a:cubicBezTo>
                    <a:pt x="194873" y="498355"/>
                    <a:pt x="179657" y="498355"/>
                    <a:pt x="172049" y="505903"/>
                  </a:cubicBezTo>
                  <a:cubicBezTo>
                    <a:pt x="164441" y="513451"/>
                    <a:pt x="164441" y="524774"/>
                    <a:pt x="172049" y="532322"/>
                  </a:cubicBezTo>
                  <a:cubicBezTo>
                    <a:pt x="172049" y="532322"/>
                    <a:pt x="172049" y="532322"/>
                    <a:pt x="225305" y="588933"/>
                  </a:cubicBezTo>
                  <a:cubicBezTo>
                    <a:pt x="229109" y="592707"/>
                    <a:pt x="236717" y="596481"/>
                    <a:pt x="240521" y="596481"/>
                  </a:cubicBezTo>
                  <a:cubicBezTo>
                    <a:pt x="244325" y="596481"/>
                    <a:pt x="251933" y="592707"/>
                    <a:pt x="255737" y="588933"/>
                  </a:cubicBezTo>
                  <a:cubicBezTo>
                    <a:pt x="255737" y="588933"/>
                    <a:pt x="255737" y="588933"/>
                    <a:pt x="350838" y="494581"/>
                  </a:cubicBezTo>
                  <a:cubicBezTo>
                    <a:pt x="350838" y="494581"/>
                    <a:pt x="350838" y="494581"/>
                    <a:pt x="350838" y="600255"/>
                  </a:cubicBezTo>
                  <a:cubicBezTo>
                    <a:pt x="350838" y="611577"/>
                    <a:pt x="339426" y="619125"/>
                    <a:pt x="331818" y="619125"/>
                  </a:cubicBezTo>
                  <a:cubicBezTo>
                    <a:pt x="331818" y="619125"/>
                    <a:pt x="331818" y="619125"/>
                    <a:pt x="168245" y="619125"/>
                  </a:cubicBezTo>
                  <a:cubicBezTo>
                    <a:pt x="156833" y="619125"/>
                    <a:pt x="149225" y="611577"/>
                    <a:pt x="149225" y="600255"/>
                  </a:cubicBezTo>
                  <a:cubicBezTo>
                    <a:pt x="149225" y="600255"/>
                    <a:pt x="149225" y="600255"/>
                    <a:pt x="149225" y="437970"/>
                  </a:cubicBezTo>
                  <a:cubicBezTo>
                    <a:pt x="149225" y="430422"/>
                    <a:pt x="156833" y="419100"/>
                    <a:pt x="168245" y="419100"/>
                  </a:cubicBezTo>
                  <a:close/>
                  <a:moveTo>
                    <a:pt x="61862" y="166688"/>
                  </a:moveTo>
                  <a:cubicBezTo>
                    <a:pt x="50462" y="166688"/>
                    <a:pt x="42862" y="174240"/>
                    <a:pt x="42862" y="185568"/>
                  </a:cubicBezTo>
                  <a:cubicBezTo>
                    <a:pt x="42862" y="185568"/>
                    <a:pt x="42862" y="185568"/>
                    <a:pt x="42862" y="1314621"/>
                  </a:cubicBezTo>
                  <a:cubicBezTo>
                    <a:pt x="42862" y="1322173"/>
                    <a:pt x="50462" y="1333501"/>
                    <a:pt x="61862" y="1333501"/>
                  </a:cubicBezTo>
                  <a:cubicBezTo>
                    <a:pt x="61862" y="1333501"/>
                    <a:pt x="61862" y="1333501"/>
                    <a:pt x="863650" y="1333501"/>
                  </a:cubicBezTo>
                  <a:cubicBezTo>
                    <a:pt x="875050" y="1333501"/>
                    <a:pt x="882650" y="1322173"/>
                    <a:pt x="882650" y="1314621"/>
                  </a:cubicBezTo>
                  <a:lnTo>
                    <a:pt x="882650" y="185568"/>
                  </a:lnTo>
                  <a:cubicBezTo>
                    <a:pt x="882650" y="174240"/>
                    <a:pt x="875050" y="166688"/>
                    <a:pt x="863650" y="166688"/>
                  </a:cubicBezTo>
                  <a:cubicBezTo>
                    <a:pt x="863650" y="166688"/>
                    <a:pt x="863650" y="166688"/>
                    <a:pt x="692653" y="166688"/>
                  </a:cubicBezTo>
                  <a:cubicBezTo>
                    <a:pt x="692653" y="166688"/>
                    <a:pt x="692653" y="166688"/>
                    <a:pt x="692653" y="257314"/>
                  </a:cubicBezTo>
                  <a:cubicBezTo>
                    <a:pt x="692653" y="268642"/>
                    <a:pt x="685053" y="276195"/>
                    <a:pt x="673653" y="276195"/>
                  </a:cubicBezTo>
                  <a:cubicBezTo>
                    <a:pt x="673653" y="276195"/>
                    <a:pt x="673653" y="276195"/>
                    <a:pt x="251859" y="276195"/>
                  </a:cubicBezTo>
                  <a:cubicBezTo>
                    <a:pt x="240459" y="276195"/>
                    <a:pt x="232859" y="268642"/>
                    <a:pt x="232859" y="257314"/>
                  </a:cubicBezTo>
                  <a:cubicBezTo>
                    <a:pt x="232859" y="257314"/>
                    <a:pt x="232859" y="257314"/>
                    <a:pt x="232859" y="166688"/>
                  </a:cubicBezTo>
                  <a:cubicBezTo>
                    <a:pt x="232859" y="166688"/>
                    <a:pt x="232859" y="166688"/>
                    <a:pt x="61862" y="166688"/>
                  </a:cubicBezTo>
                  <a:close/>
                  <a:moveTo>
                    <a:pt x="271462" y="125413"/>
                  </a:moveTo>
                  <a:lnTo>
                    <a:pt x="271462" y="166688"/>
                  </a:lnTo>
                  <a:lnTo>
                    <a:pt x="271462" y="238126"/>
                  </a:lnTo>
                  <a:lnTo>
                    <a:pt x="654050" y="238126"/>
                  </a:lnTo>
                  <a:lnTo>
                    <a:pt x="654050" y="166688"/>
                  </a:lnTo>
                  <a:lnTo>
                    <a:pt x="654050" y="125413"/>
                  </a:lnTo>
                  <a:close/>
                  <a:moveTo>
                    <a:pt x="464639" y="38100"/>
                  </a:moveTo>
                  <a:cubicBezTo>
                    <a:pt x="430757" y="38100"/>
                    <a:pt x="404404" y="57028"/>
                    <a:pt x="396875" y="87313"/>
                  </a:cubicBezTo>
                  <a:cubicBezTo>
                    <a:pt x="396875" y="87313"/>
                    <a:pt x="396875" y="87313"/>
                    <a:pt x="528638" y="87313"/>
                  </a:cubicBezTo>
                  <a:cubicBezTo>
                    <a:pt x="521109" y="57028"/>
                    <a:pt x="494756" y="38100"/>
                    <a:pt x="464639" y="38100"/>
                  </a:cubicBezTo>
                  <a:close/>
                  <a:moveTo>
                    <a:pt x="464661" y="0"/>
                  </a:moveTo>
                  <a:cubicBezTo>
                    <a:pt x="517983" y="0"/>
                    <a:pt x="559878" y="37795"/>
                    <a:pt x="571304" y="86930"/>
                  </a:cubicBezTo>
                  <a:cubicBezTo>
                    <a:pt x="571304" y="86930"/>
                    <a:pt x="571304" y="86930"/>
                    <a:pt x="674139" y="86930"/>
                  </a:cubicBezTo>
                  <a:cubicBezTo>
                    <a:pt x="685565" y="86930"/>
                    <a:pt x="693183" y="94489"/>
                    <a:pt x="693183" y="105828"/>
                  </a:cubicBezTo>
                  <a:cubicBezTo>
                    <a:pt x="693183" y="105828"/>
                    <a:pt x="693183" y="105828"/>
                    <a:pt x="693183" y="117166"/>
                  </a:cubicBezTo>
                  <a:cubicBezTo>
                    <a:pt x="693183" y="117166"/>
                    <a:pt x="693183" y="117166"/>
                    <a:pt x="906470" y="117166"/>
                  </a:cubicBezTo>
                  <a:cubicBezTo>
                    <a:pt x="917896" y="117166"/>
                    <a:pt x="925513" y="128505"/>
                    <a:pt x="925513" y="136064"/>
                  </a:cubicBezTo>
                  <a:cubicBezTo>
                    <a:pt x="925513" y="136064"/>
                    <a:pt x="925513" y="136064"/>
                    <a:pt x="925513" y="1360640"/>
                  </a:cubicBezTo>
                  <a:cubicBezTo>
                    <a:pt x="925513" y="1371979"/>
                    <a:pt x="917896" y="1379538"/>
                    <a:pt x="906470" y="1379538"/>
                  </a:cubicBezTo>
                  <a:cubicBezTo>
                    <a:pt x="906470" y="1379538"/>
                    <a:pt x="906470" y="1379538"/>
                    <a:pt x="19043" y="1379538"/>
                  </a:cubicBezTo>
                  <a:cubicBezTo>
                    <a:pt x="11426" y="1379538"/>
                    <a:pt x="0" y="1371979"/>
                    <a:pt x="0" y="1360640"/>
                  </a:cubicBezTo>
                  <a:cubicBezTo>
                    <a:pt x="0" y="1360640"/>
                    <a:pt x="0" y="1360640"/>
                    <a:pt x="0" y="136064"/>
                  </a:cubicBezTo>
                  <a:cubicBezTo>
                    <a:pt x="0" y="128505"/>
                    <a:pt x="11426" y="117166"/>
                    <a:pt x="19043" y="117166"/>
                  </a:cubicBezTo>
                  <a:cubicBezTo>
                    <a:pt x="19043" y="117166"/>
                    <a:pt x="19043" y="117166"/>
                    <a:pt x="232330" y="117166"/>
                  </a:cubicBezTo>
                  <a:cubicBezTo>
                    <a:pt x="232330" y="117166"/>
                    <a:pt x="232330" y="117166"/>
                    <a:pt x="232330" y="105828"/>
                  </a:cubicBezTo>
                  <a:cubicBezTo>
                    <a:pt x="232330" y="94489"/>
                    <a:pt x="239948" y="86930"/>
                    <a:pt x="251374" y="86930"/>
                  </a:cubicBezTo>
                  <a:cubicBezTo>
                    <a:pt x="251374" y="86930"/>
                    <a:pt x="251374" y="86930"/>
                    <a:pt x="358017" y="86930"/>
                  </a:cubicBezTo>
                  <a:cubicBezTo>
                    <a:pt x="365635" y="37795"/>
                    <a:pt x="407530" y="0"/>
                    <a:pt x="464661" y="0"/>
                  </a:cubicBezTo>
                  <a:close/>
                </a:path>
              </a:pathLst>
            </a:custGeom>
            <a:solidFill>
              <a:srgbClr val="00375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34" name="Overview meeting"/>
            <p:cNvSpPr>
              <a:spLocks noChangeAspect="1"/>
            </p:cNvSpPr>
            <p:nvPr>
              <p:custDataLst>
                <p:tags r:id="rId2"/>
              </p:custDataLst>
            </p:nvPr>
          </p:nvSpPr>
          <p:spPr bwMode="auto">
            <a:xfrm>
              <a:off x="6674432" y="2070149"/>
              <a:ext cx="450543" cy="450000"/>
            </a:xfrm>
            <a:custGeom>
              <a:avLst/>
              <a:gdLst>
                <a:gd name="connsiteX0" fmla="*/ 336246 w 1317625"/>
                <a:gd name="connsiteY0" fmla="*/ 301625 h 1316038"/>
                <a:gd name="connsiteX1" fmla="*/ 222796 w 1317625"/>
                <a:gd name="connsiteY1" fmla="*/ 415221 h 1316038"/>
                <a:gd name="connsiteX2" fmla="*/ 294648 w 1317625"/>
                <a:gd name="connsiteY2" fmla="*/ 525030 h 1316038"/>
                <a:gd name="connsiteX3" fmla="*/ 309775 w 1317625"/>
                <a:gd name="connsiteY3" fmla="*/ 543963 h 1316038"/>
                <a:gd name="connsiteX4" fmla="*/ 309775 w 1317625"/>
                <a:gd name="connsiteY4" fmla="*/ 657559 h 1316038"/>
                <a:gd name="connsiteX5" fmla="*/ 287084 w 1317625"/>
                <a:gd name="connsiteY5" fmla="*/ 680278 h 1316038"/>
                <a:gd name="connsiteX6" fmla="*/ 41275 w 1317625"/>
                <a:gd name="connsiteY6" fmla="*/ 680278 h 1316038"/>
                <a:gd name="connsiteX7" fmla="*/ 41275 w 1317625"/>
                <a:gd name="connsiteY7" fmla="*/ 1274763 h 1316038"/>
                <a:gd name="connsiteX8" fmla="*/ 635000 w 1317625"/>
                <a:gd name="connsiteY8" fmla="*/ 1274763 h 1316038"/>
                <a:gd name="connsiteX9" fmla="*/ 635000 w 1317625"/>
                <a:gd name="connsiteY9" fmla="*/ 1051358 h 1316038"/>
                <a:gd name="connsiteX10" fmla="*/ 555584 w 1317625"/>
                <a:gd name="connsiteY10" fmla="*/ 1051358 h 1316038"/>
                <a:gd name="connsiteX11" fmla="*/ 415662 w 1317625"/>
                <a:gd name="connsiteY11" fmla="*/ 1138448 h 1316038"/>
                <a:gd name="connsiteX12" fmla="*/ 256831 w 1317625"/>
                <a:gd name="connsiteY12" fmla="*/ 979414 h 1316038"/>
                <a:gd name="connsiteX13" fmla="*/ 415662 w 1317625"/>
                <a:gd name="connsiteY13" fmla="*/ 820380 h 1316038"/>
                <a:gd name="connsiteX14" fmla="*/ 555584 w 1317625"/>
                <a:gd name="connsiteY14" fmla="*/ 907470 h 1316038"/>
                <a:gd name="connsiteX15" fmla="*/ 635000 w 1317625"/>
                <a:gd name="connsiteY15" fmla="*/ 907470 h 1316038"/>
                <a:gd name="connsiteX16" fmla="*/ 635000 w 1317625"/>
                <a:gd name="connsiteY16" fmla="*/ 680278 h 1316038"/>
                <a:gd name="connsiteX17" fmla="*/ 389190 w 1317625"/>
                <a:gd name="connsiteY17" fmla="*/ 680278 h 1316038"/>
                <a:gd name="connsiteX18" fmla="*/ 366500 w 1317625"/>
                <a:gd name="connsiteY18" fmla="*/ 657559 h 1316038"/>
                <a:gd name="connsiteX19" fmla="*/ 366500 w 1317625"/>
                <a:gd name="connsiteY19" fmla="*/ 543963 h 1316038"/>
                <a:gd name="connsiteX20" fmla="*/ 377845 w 1317625"/>
                <a:gd name="connsiteY20" fmla="*/ 525030 h 1316038"/>
                <a:gd name="connsiteX21" fmla="*/ 453479 w 1317625"/>
                <a:gd name="connsiteY21" fmla="*/ 415221 h 1316038"/>
                <a:gd name="connsiteX22" fmla="*/ 336246 w 1317625"/>
                <a:gd name="connsiteY22" fmla="*/ 301625 h 1316038"/>
                <a:gd name="connsiteX23" fmla="*/ 681038 w 1317625"/>
                <a:gd name="connsiteY23" fmla="*/ 44450 h 1316038"/>
                <a:gd name="connsiteX24" fmla="*/ 681038 w 1317625"/>
                <a:gd name="connsiteY24" fmla="*/ 267855 h 1316038"/>
                <a:gd name="connsiteX25" fmla="*/ 760535 w 1317625"/>
                <a:gd name="connsiteY25" fmla="*/ 267855 h 1316038"/>
                <a:gd name="connsiteX26" fmla="*/ 900602 w 1317625"/>
                <a:gd name="connsiteY26" fmla="*/ 180765 h 1316038"/>
                <a:gd name="connsiteX27" fmla="*/ 1059596 w 1317625"/>
                <a:gd name="connsiteY27" fmla="*/ 339799 h 1316038"/>
                <a:gd name="connsiteX28" fmla="*/ 900602 w 1317625"/>
                <a:gd name="connsiteY28" fmla="*/ 498834 h 1316038"/>
                <a:gd name="connsiteX29" fmla="*/ 760535 w 1317625"/>
                <a:gd name="connsiteY29" fmla="*/ 411743 h 1316038"/>
                <a:gd name="connsiteX30" fmla="*/ 681038 w 1317625"/>
                <a:gd name="connsiteY30" fmla="*/ 411743 h 1316038"/>
                <a:gd name="connsiteX31" fmla="*/ 681038 w 1317625"/>
                <a:gd name="connsiteY31" fmla="*/ 638935 h 1316038"/>
                <a:gd name="connsiteX32" fmla="*/ 927101 w 1317625"/>
                <a:gd name="connsiteY32" fmla="*/ 638935 h 1316038"/>
                <a:gd name="connsiteX33" fmla="*/ 949814 w 1317625"/>
                <a:gd name="connsiteY33" fmla="*/ 657868 h 1316038"/>
                <a:gd name="connsiteX34" fmla="*/ 949814 w 1317625"/>
                <a:gd name="connsiteY34" fmla="*/ 775250 h 1316038"/>
                <a:gd name="connsiteX35" fmla="*/ 934672 w 1317625"/>
                <a:gd name="connsiteY35" fmla="*/ 794183 h 1316038"/>
                <a:gd name="connsiteX36" fmla="*/ 862746 w 1317625"/>
                <a:gd name="connsiteY36" fmla="*/ 900206 h 1316038"/>
                <a:gd name="connsiteX37" fmla="*/ 976313 w 1317625"/>
                <a:gd name="connsiteY37" fmla="*/ 1017588 h 1316038"/>
                <a:gd name="connsiteX38" fmla="*/ 1093666 w 1317625"/>
                <a:gd name="connsiteY38" fmla="*/ 900206 h 1316038"/>
                <a:gd name="connsiteX39" fmla="*/ 1017955 w 1317625"/>
                <a:gd name="connsiteY39" fmla="*/ 794183 h 1316038"/>
                <a:gd name="connsiteX40" fmla="*/ 1006598 w 1317625"/>
                <a:gd name="connsiteY40" fmla="*/ 775250 h 1316038"/>
                <a:gd name="connsiteX41" fmla="*/ 1006598 w 1317625"/>
                <a:gd name="connsiteY41" fmla="*/ 657868 h 1316038"/>
                <a:gd name="connsiteX42" fmla="*/ 1029311 w 1317625"/>
                <a:gd name="connsiteY42" fmla="*/ 638935 h 1316038"/>
                <a:gd name="connsiteX43" fmla="*/ 1271588 w 1317625"/>
                <a:gd name="connsiteY43" fmla="*/ 638935 h 1316038"/>
                <a:gd name="connsiteX44" fmla="*/ 1271588 w 1317625"/>
                <a:gd name="connsiteY44" fmla="*/ 44450 h 1316038"/>
                <a:gd name="connsiteX45" fmla="*/ 681038 w 1317625"/>
                <a:gd name="connsiteY45" fmla="*/ 44450 h 1316038"/>
                <a:gd name="connsiteX46" fmla="*/ 41275 w 1317625"/>
                <a:gd name="connsiteY46" fmla="*/ 44450 h 1316038"/>
                <a:gd name="connsiteX47" fmla="*/ 41275 w 1317625"/>
                <a:gd name="connsiteY47" fmla="*/ 639763 h 1316038"/>
                <a:gd name="connsiteX48" fmla="*/ 268467 w 1317625"/>
                <a:gd name="connsiteY48" fmla="*/ 639763 h 1316038"/>
                <a:gd name="connsiteX49" fmla="*/ 268467 w 1317625"/>
                <a:gd name="connsiteY49" fmla="*/ 560135 h 1316038"/>
                <a:gd name="connsiteX50" fmla="*/ 181376 w 1317625"/>
                <a:gd name="connsiteY50" fmla="*/ 416047 h 1316038"/>
                <a:gd name="connsiteX51" fmla="*/ 336624 w 1317625"/>
                <a:gd name="connsiteY51" fmla="*/ 260583 h 1316038"/>
                <a:gd name="connsiteX52" fmla="*/ 495658 w 1317625"/>
                <a:gd name="connsiteY52" fmla="*/ 416047 h 1316038"/>
                <a:gd name="connsiteX53" fmla="*/ 408568 w 1317625"/>
                <a:gd name="connsiteY53" fmla="*/ 560135 h 1316038"/>
                <a:gd name="connsiteX54" fmla="*/ 408568 w 1317625"/>
                <a:gd name="connsiteY54" fmla="*/ 639763 h 1316038"/>
                <a:gd name="connsiteX55" fmla="*/ 635760 w 1317625"/>
                <a:gd name="connsiteY55" fmla="*/ 639763 h 1316038"/>
                <a:gd name="connsiteX56" fmla="*/ 635760 w 1317625"/>
                <a:gd name="connsiteY56" fmla="*/ 389504 h 1316038"/>
                <a:gd name="connsiteX57" fmla="*/ 658479 w 1317625"/>
                <a:gd name="connsiteY57" fmla="*/ 366753 h 1316038"/>
                <a:gd name="connsiteX58" fmla="*/ 772075 w 1317625"/>
                <a:gd name="connsiteY58" fmla="*/ 366753 h 1316038"/>
                <a:gd name="connsiteX59" fmla="*/ 794795 w 1317625"/>
                <a:gd name="connsiteY59" fmla="*/ 381921 h 1316038"/>
                <a:gd name="connsiteX60" fmla="*/ 900817 w 1317625"/>
                <a:gd name="connsiteY60" fmla="*/ 453965 h 1316038"/>
                <a:gd name="connsiteX61" fmla="*/ 1014413 w 1317625"/>
                <a:gd name="connsiteY61" fmla="*/ 340211 h 1316038"/>
                <a:gd name="connsiteX62" fmla="*/ 900817 w 1317625"/>
                <a:gd name="connsiteY62" fmla="*/ 226457 h 1316038"/>
                <a:gd name="connsiteX63" fmla="*/ 794795 w 1317625"/>
                <a:gd name="connsiteY63" fmla="*/ 298501 h 1316038"/>
                <a:gd name="connsiteX64" fmla="*/ 772075 w 1317625"/>
                <a:gd name="connsiteY64" fmla="*/ 309876 h 1316038"/>
                <a:gd name="connsiteX65" fmla="*/ 658479 w 1317625"/>
                <a:gd name="connsiteY65" fmla="*/ 309876 h 1316038"/>
                <a:gd name="connsiteX66" fmla="*/ 635760 w 1317625"/>
                <a:gd name="connsiteY66" fmla="*/ 290917 h 1316038"/>
                <a:gd name="connsiteX67" fmla="*/ 635760 w 1317625"/>
                <a:gd name="connsiteY67" fmla="*/ 44450 h 1316038"/>
                <a:gd name="connsiteX68" fmla="*/ 41275 w 1317625"/>
                <a:gd name="connsiteY68" fmla="*/ 44450 h 1316038"/>
                <a:gd name="connsiteX69" fmla="*/ 22717 w 1317625"/>
                <a:gd name="connsiteY69" fmla="*/ 0 h 1316038"/>
                <a:gd name="connsiteX70" fmla="*/ 1294908 w 1317625"/>
                <a:gd name="connsiteY70" fmla="*/ 0 h 1316038"/>
                <a:gd name="connsiteX71" fmla="*/ 1317625 w 1317625"/>
                <a:gd name="connsiteY71" fmla="*/ 22690 h 1316038"/>
                <a:gd name="connsiteX72" fmla="*/ 1317625 w 1317625"/>
                <a:gd name="connsiteY72" fmla="*/ 1297130 h 1316038"/>
                <a:gd name="connsiteX73" fmla="*/ 1294908 w 1317625"/>
                <a:gd name="connsiteY73" fmla="*/ 1316038 h 1316038"/>
                <a:gd name="connsiteX74" fmla="*/ 22717 w 1317625"/>
                <a:gd name="connsiteY74" fmla="*/ 1316038 h 1316038"/>
                <a:gd name="connsiteX75" fmla="*/ 0 w 1317625"/>
                <a:gd name="connsiteY75" fmla="*/ 1297130 h 1316038"/>
                <a:gd name="connsiteX76" fmla="*/ 0 w 1317625"/>
                <a:gd name="connsiteY76" fmla="*/ 22690 h 1316038"/>
                <a:gd name="connsiteX77" fmla="*/ 22717 w 1317625"/>
                <a:gd name="connsiteY77" fmla="*/ 0 h 1316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1317625" h="1316038">
                  <a:moveTo>
                    <a:pt x="336246" y="301625"/>
                  </a:moveTo>
                  <a:cubicBezTo>
                    <a:pt x="275739" y="301625"/>
                    <a:pt x="222796" y="354637"/>
                    <a:pt x="222796" y="415221"/>
                  </a:cubicBezTo>
                  <a:cubicBezTo>
                    <a:pt x="222796" y="464446"/>
                    <a:pt x="253049" y="506098"/>
                    <a:pt x="294648" y="525030"/>
                  </a:cubicBezTo>
                  <a:cubicBezTo>
                    <a:pt x="305993" y="525030"/>
                    <a:pt x="309775" y="536390"/>
                    <a:pt x="309775" y="543963"/>
                  </a:cubicBezTo>
                  <a:cubicBezTo>
                    <a:pt x="309775" y="543963"/>
                    <a:pt x="309775" y="543963"/>
                    <a:pt x="309775" y="657559"/>
                  </a:cubicBezTo>
                  <a:cubicBezTo>
                    <a:pt x="309775" y="672705"/>
                    <a:pt x="298430" y="680278"/>
                    <a:pt x="287084" y="680278"/>
                  </a:cubicBezTo>
                  <a:cubicBezTo>
                    <a:pt x="287084" y="680278"/>
                    <a:pt x="287084" y="680278"/>
                    <a:pt x="41275" y="680278"/>
                  </a:cubicBezTo>
                  <a:lnTo>
                    <a:pt x="41275" y="1274763"/>
                  </a:lnTo>
                  <a:cubicBezTo>
                    <a:pt x="41275" y="1274763"/>
                    <a:pt x="41275" y="1274763"/>
                    <a:pt x="635000" y="1274763"/>
                  </a:cubicBezTo>
                  <a:cubicBezTo>
                    <a:pt x="635000" y="1274763"/>
                    <a:pt x="635000" y="1274763"/>
                    <a:pt x="635000" y="1051358"/>
                  </a:cubicBezTo>
                  <a:cubicBezTo>
                    <a:pt x="635000" y="1051358"/>
                    <a:pt x="635000" y="1051358"/>
                    <a:pt x="555584" y="1051358"/>
                  </a:cubicBezTo>
                  <a:cubicBezTo>
                    <a:pt x="529113" y="1104369"/>
                    <a:pt x="476169" y="1138448"/>
                    <a:pt x="415662" y="1138448"/>
                  </a:cubicBezTo>
                  <a:cubicBezTo>
                    <a:pt x="328683" y="1138448"/>
                    <a:pt x="256831" y="1066504"/>
                    <a:pt x="256831" y="979414"/>
                  </a:cubicBezTo>
                  <a:cubicBezTo>
                    <a:pt x="256831" y="892324"/>
                    <a:pt x="328683" y="820380"/>
                    <a:pt x="415662" y="820380"/>
                  </a:cubicBezTo>
                  <a:cubicBezTo>
                    <a:pt x="476169" y="820380"/>
                    <a:pt x="529113" y="854458"/>
                    <a:pt x="555584" y="907470"/>
                  </a:cubicBezTo>
                  <a:cubicBezTo>
                    <a:pt x="555584" y="907470"/>
                    <a:pt x="555584" y="907470"/>
                    <a:pt x="635000" y="907470"/>
                  </a:cubicBezTo>
                  <a:cubicBezTo>
                    <a:pt x="635000" y="907470"/>
                    <a:pt x="635000" y="907470"/>
                    <a:pt x="635000" y="680278"/>
                  </a:cubicBezTo>
                  <a:cubicBezTo>
                    <a:pt x="635000" y="680278"/>
                    <a:pt x="635000" y="680278"/>
                    <a:pt x="389190" y="680278"/>
                  </a:cubicBezTo>
                  <a:cubicBezTo>
                    <a:pt x="374063" y="680278"/>
                    <a:pt x="366500" y="672705"/>
                    <a:pt x="366500" y="657559"/>
                  </a:cubicBezTo>
                  <a:cubicBezTo>
                    <a:pt x="366500" y="657559"/>
                    <a:pt x="366500" y="657559"/>
                    <a:pt x="366500" y="543963"/>
                  </a:cubicBezTo>
                  <a:cubicBezTo>
                    <a:pt x="366500" y="536390"/>
                    <a:pt x="370282" y="525030"/>
                    <a:pt x="377845" y="525030"/>
                  </a:cubicBezTo>
                  <a:cubicBezTo>
                    <a:pt x="423225" y="506098"/>
                    <a:pt x="453479" y="464446"/>
                    <a:pt x="453479" y="415221"/>
                  </a:cubicBezTo>
                  <a:cubicBezTo>
                    <a:pt x="453479" y="354637"/>
                    <a:pt x="400535" y="301625"/>
                    <a:pt x="336246" y="301625"/>
                  </a:cubicBezTo>
                  <a:close/>
                  <a:moveTo>
                    <a:pt x="681038" y="44450"/>
                  </a:moveTo>
                  <a:cubicBezTo>
                    <a:pt x="681038" y="44450"/>
                    <a:pt x="681038" y="44450"/>
                    <a:pt x="681038" y="267855"/>
                  </a:cubicBezTo>
                  <a:cubicBezTo>
                    <a:pt x="681038" y="267855"/>
                    <a:pt x="681038" y="267855"/>
                    <a:pt x="760535" y="267855"/>
                  </a:cubicBezTo>
                  <a:cubicBezTo>
                    <a:pt x="787034" y="214844"/>
                    <a:pt x="840032" y="180765"/>
                    <a:pt x="900602" y="180765"/>
                  </a:cubicBezTo>
                  <a:cubicBezTo>
                    <a:pt x="987670" y="180765"/>
                    <a:pt x="1059596" y="252709"/>
                    <a:pt x="1059596" y="339799"/>
                  </a:cubicBezTo>
                  <a:cubicBezTo>
                    <a:pt x="1059596" y="426890"/>
                    <a:pt x="987670" y="498834"/>
                    <a:pt x="900602" y="498834"/>
                  </a:cubicBezTo>
                  <a:cubicBezTo>
                    <a:pt x="840032" y="498834"/>
                    <a:pt x="787034" y="464755"/>
                    <a:pt x="760535" y="411743"/>
                  </a:cubicBezTo>
                  <a:cubicBezTo>
                    <a:pt x="760535" y="411743"/>
                    <a:pt x="760535" y="411743"/>
                    <a:pt x="681038" y="411743"/>
                  </a:cubicBezTo>
                  <a:cubicBezTo>
                    <a:pt x="681038" y="411743"/>
                    <a:pt x="681038" y="411743"/>
                    <a:pt x="681038" y="638935"/>
                  </a:cubicBezTo>
                  <a:cubicBezTo>
                    <a:pt x="681038" y="638935"/>
                    <a:pt x="681038" y="638935"/>
                    <a:pt x="927101" y="638935"/>
                  </a:cubicBezTo>
                  <a:cubicBezTo>
                    <a:pt x="938457" y="638935"/>
                    <a:pt x="949814" y="646508"/>
                    <a:pt x="949814" y="657868"/>
                  </a:cubicBezTo>
                  <a:cubicBezTo>
                    <a:pt x="949814" y="657868"/>
                    <a:pt x="949814" y="657868"/>
                    <a:pt x="949814" y="775250"/>
                  </a:cubicBezTo>
                  <a:cubicBezTo>
                    <a:pt x="949814" y="782823"/>
                    <a:pt x="946029" y="790396"/>
                    <a:pt x="934672" y="794183"/>
                  </a:cubicBezTo>
                  <a:cubicBezTo>
                    <a:pt x="893031" y="813116"/>
                    <a:pt x="862746" y="854767"/>
                    <a:pt x="862746" y="900206"/>
                  </a:cubicBezTo>
                  <a:cubicBezTo>
                    <a:pt x="862746" y="964577"/>
                    <a:pt x="915744" y="1017588"/>
                    <a:pt x="976313" y="1017588"/>
                  </a:cubicBezTo>
                  <a:cubicBezTo>
                    <a:pt x="1040668" y="1017588"/>
                    <a:pt x="1093666" y="964577"/>
                    <a:pt x="1093666" y="900206"/>
                  </a:cubicBezTo>
                  <a:cubicBezTo>
                    <a:pt x="1093666" y="854767"/>
                    <a:pt x="1063382" y="813116"/>
                    <a:pt x="1017955" y="794183"/>
                  </a:cubicBezTo>
                  <a:cubicBezTo>
                    <a:pt x="1010383" y="790396"/>
                    <a:pt x="1006598" y="782823"/>
                    <a:pt x="1006598" y="775250"/>
                  </a:cubicBezTo>
                  <a:cubicBezTo>
                    <a:pt x="1006598" y="775250"/>
                    <a:pt x="1006598" y="775250"/>
                    <a:pt x="1006598" y="657868"/>
                  </a:cubicBezTo>
                  <a:cubicBezTo>
                    <a:pt x="1006598" y="646508"/>
                    <a:pt x="1014169" y="638935"/>
                    <a:pt x="1029311" y="638935"/>
                  </a:cubicBezTo>
                  <a:cubicBezTo>
                    <a:pt x="1029311" y="638935"/>
                    <a:pt x="1029311" y="638935"/>
                    <a:pt x="1271588" y="638935"/>
                  </a:cubicBezTo>
                  <a:lnTo>
                    <a:pt x="1271588" y="44450"/>
                  </a:lnTo>
                  <a:cubicBezTo>
                    <a:pt x="1271588" y="44450"/>
                    <a:pt x="1271588" y="44450"/>
                    <a:pt x="681038" y="44450"/>
                  </a:cubicBezTo>
                  <a:close/>
                  <a:moveTo>
                    <a:pt x="41275" y="44450"/>
                  </a:moveTo>
                  <a:lnTo>
                    <a:pt x="41275" y="639763"/>
                  </a:lnTo>
                  <a:cubicBezTo>
                    <a:pt x="41275" y="639763"/>
                    <a:pt x="41275" y="639763"/>
                    <a:pt x="268467" y="639763"/>
                  </a:cubicBezTo>
                  <a:cubicBezTo>
                    <a:pt x="268467" y="639763"/>
                    <a:pt x="268467" y="639763"/>
                    <a:pt x="268467" y="560135"/>
                  </a:cubicBezTo>
                  <a:cubicBezTo>
                    <a:pt x="211669" y="533593"/>
                    <a:pt x="181376" y="476716"/>
                    <a:pt x="181376" y="416047"/>
                  </a:cubicBezTo>
                  <a:cubicBezTo>
                    <a:pt x="181376" y="328835"/>
                    <a:pt x="249534" y="260583"/>
                    <a:pt x="336624" y="260583"/>
                  </a:cubicBezTo>
                  <a:cubicBezTo>
                    <a:pt x="427501" y="260583"/>
                    <a:pt x="495658" y="328835"/>
                    <a:pt x="495658" y="416047"/>
                  </a:cubicBezTo>
                  <a:cubicBezTo>
                    <a:pt x="495658" y="476716"/>
                    <a:pt x="461580" y="533593"/>
                    <a:pt x="408568" y="560135"/>
                  </a:cubicBezTo>
                  <a:cubicBezTo>
                    <a:pt x="408568" y="560135"/>
                    <a:pt x="408568" y="560135"/>
                    <a:pt x="408568" y="639763"/>
                  </a:cubicBezTo>
                  <a:cubicBezTo>
                    <a:pt x="408568" y="639763"/>
                    <a:pt x="408568" y="639763"/>
                    <a:pt x="635760" y="639763"/>
                  </a:cubicBezTo>
                  <a:cubicBezTo>
                    <a:pt x="635760" y="639763"/>
                    <a:pt x="635760" y="639763"/>
                    <a:pt x="635760" y="389504"/>
                  </a:cubicBezTo>
                  <a:cubicBezTo>
                    <a:pt x="635760" y="378129"/>
                    <a:pt x="647119" y="366753"/>
                    <a:pt x="658479" y="366753"/>
                  </a:cubicBezTo>
                  <a:cubicBezTo>
                    <a:pt x="658479" y="366753"/>
                    <a:pt x="658479" y="366753"/>
                    <a:pt x="772075" y="366753"/>
                  </a:cubicBezTo>
                  <a:cubicBezTo>
                    <a:pt x="783435" y="366753"/>
                    <a:pt x="791008" y="374337"/>
                    <a:pt x="794795" y="381921"/>
                  </a:cubicBezTo>
                  <a:cubicBezTo>
                    <a:pt x="809941" y="423630"/>
                    <a:pt x="855379" y="453965"/>
                    <a:pt x="900817" y="453965"/>
                  </a:cubicBezTo>
                  <a:cubicBezTo>
                    <a:pt x="965188" y="453965"/>
                    <a:pt x="1014413" y="404671"/>
                    <a:pt x="1014413" y="340211"/>
                  </a:cubicBezTo>
                  <a:cubicBezTo>
                    <a:pt x="1014413" y="275750"/>
                    <a:pt x="965188" y="226457"/>
                    <a:pt x="900817" y="226457"/>
                  </a:cubicBezTo>
                  <a:cubicBezTo>
                    <a:pt x="851592" y="226457"/>
                    <a:pt x="809941" y="252999"/>
                    <a:pt x="794795" y="298501"/>
                  </a:cubicBezTo>
                  <a:cubicBezTo>
                    <a:pt x="791008" y="306085"/>
                    <a:pt x="783435" y="309876"/>
                    <a:pt x="772075" y="309876"/>
                  </a:cubicBezTo>
                  <a:cubicBezTo>
                    <a:pt x="772075" y="309876"/>
                    <a:pt x="772075" y="309876"/>
                    <a:pt x="658479" y="309876"/>
                  </a:cubicBezTo>
                  <a:cubicBezTo>
                    <a:pt x="647119" y="309876"/>
                    <a:pt x="635760" y="302293"/>
                    <a:pt x="635760" y="290917"/>
                  </a:cubicBezTo>
                  <a:cubicBezTo>
                    <a:pt x="635760" y="290917"/>
                    <a:pt x="635760" y="290917"/>
                    <a:pt x="635760" y="44450"/>
                  </a:cubicBezTo>
                  <a:cubicBezTo>
                    <a:pt x="635760" y="44450"/>
                    <a:pt x="635760" y="44450"/>
                    <a:pt x="41275" y="44450"/>
                  </a:cubicBezTo>
                  <a:close/>
                  <a:moveTo>
                    <a:pt x="22717" y="0"/>
                  </a:moveTo>
                  <a:lnTo>
                    <a:pt x="1294908" y="0"/>
                  </a:lnTo>
                  <a:cubicBezTo>
                    <a:pt x="1306266" y="0"/>
                    <a:pt x="1317625" y="11345"/>
                    <a:pt x="1317625" y="22690"/>
                  </a:cubicBezTo>
                  <a:cubicBezTo>
                    <a:pt x="1317625" y="22690"/>
                    <a:pt x="1317625" y="22690"/>
                    <a:pt x="1317625" y="1297130"/>
                  </a:cubicBezTo>
                  <a:cubicBezTo>
                    <a:pt x="1317625" y="1308475"/>
                    <a:pt x="1306266" y="1316038"/>
                    <a:pt x="1294908" y="1316038"/>
                  </a:cubicBezTo>
                  <a:cubicBezTo>
                    <a:pt x="1294908" y="1316038"/>
                    <a:pt x="1294908" y="1316038"/>
                    <a:pt x="22717" y="1316038"/>
                  </a:cubicBezTo>
                  <a:cubicBezTo>
                    <a:pt x="11359" y="1316038"/>
                    <a:pt x="0" y="1308475"/>
                    <a:pt x="0" y="1297130"/>
                  </a:cubicBezTo>
                  <a:cubicBezTo>
                    <a:pt x="0" y="1297130"/>
                    <a:pt x="0" y="1297130"/>
                    <a:pt x="0" y="22690"/>
                  </a:cubicBezTo>
                  <a:cubicBezTo>
                    <a:pt x="0" y="11345"/>
                    <a:pt x="11359" y="0"/>
                    <a:pt x="22717" y="0"/>
                  </a:cubicBezTo>
                  <a:close/>
                </a:path>
              </a:pathLst>
            </a:custGeom>
            <a:solidFill>
              <a:srgbClr val="00375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5147103" y="1969895"/>
            <a:ext cx="1752600" cy="430887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Danske Text" panose="00000400000000000000" pitchFamily="2" charset="0"/>
              <a:buNone/>
            </a:pPr>
            <a:r>
              <a:rPr lang="en-US" sz="2800" b="1" dirty="0" smtClean="0">
                <a:solidFill>
                  <a:srgbClr val="FF3B3B"/>
                </a:solidFill>
              </a:rPr>
              <a:t>DEMO </a:t>
            </a:r>
            <a:endParaRPr lang="en-IN" sz="2800" b="1" kern="1200" dirty="0" err="1" smtClean="0">
              <a:solidFill>
                <a:srgbClr val="FF3B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627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 smtClean="0"/>
              <a:t>Churn Prevention </a:t>
            </a:r>
            <a:r>
              <a:rPr lang="en-GB" dirty="0" smtClean="0"/>
              <a:t>Scandinavia – Solution Details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32198" y="727199"/>
            <a:ext cx="11340000" cy="684000"/>
          </a:xfrm>
        </p:spPr>
        <p:txBody>
          <a:bodyPr/>
          <a:lstStyle/>
          <a:p>
            <a:r>
              <a:rPr lang="en-GB" dirty="0" smtClean="0"/>
              <a:t>Product category level predictive models were developed &amp; integrated</a:t>
            </a:r>
            <a:br>
              <a:rPr lang="en-GB" dirty="0" smtClean="0"/>
            </a:br>
            <a:r>
              <a:rPr lang="en-GB" dirty="0" smtClean="0"/>
              <a:t>to develop a prioritized list of customers at high risk of churn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68"/>
          </p:nvPr>
        </p:nvSpPr>
        <p:spPr>
          <a:xfrm>
            <a:off x="432198" y="6634236"/>
            <a:ext cx="7902602" cy="12311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7" name="Setting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16716" y="3149600"/>
            <a:ext cx="1071675" cy="991751"/>
          </a:xfrm>
          <a:custGeom>
            <a:avLst/>
            <a:gdLst>
              <a:gd name="connsiteX0" fmla="*/ 159545 w 498475"/>
              <a:gd name="connsiteY0" fmla="*/ 228600 h 461299"/>
              <a:gd name="connsiteX1" fmla="*/ 84138 w 498475"/>
              <a:gd name="connsiteY1" fmla="*/ 301625 h 461299"/>
              <a:gd name="connsiteX2" fmla="*/ 159545 w 498475"/>
              <a:gd name="connsiteY2" fmla="*/ 374650 h 461299"/>
              <a:gd name="connsiteX3" fmla="*/ 234952 w 498475"/>
              <a:gd name="connsiteY3" fmla="*/ 301625 h 461299"/>
              <a:gd name="connsiteX4" fmla="*/ 159545 w 498475"/>
              <a:gd name="connsiteY4" fmla="*/ 228600 h 461299"/>
              <a:gd name="connsiteX5" fmla="*/ 159544 w 498475"/>
              <a:gd name="connsiteY5" fmla="*/ 214313 h 461299"/>
              <a:gd name="connsiteX6" fmla="*/ 249238 w 498475"/>
              <a:gd name="connsiteY6" fmla="*/ 302420 h 461299"/>
              <a:gd name="connsiteX7" fmla="*/ 159544 w 498475"/>
              <a:gd name="connsiteY7" fmla="*/ 390527 h 461299"/>
              <a:gd name="connsiteX8" fmla="*/ 69850 w 498475"/>
              <a:gd name="connsiteY8" fmla="*/ 302420 h 461299"/>
              <a:gd name="connsiteX9" fmla="*/ 159544 w 498475"/>
              <a:gd name="connsiteY9" fmla="*/ 214313 h 461299"/>
              <a:gd name="connsiteX10" fmla="*/ 119128 w 498475"/>
              <a:gd name="connsiteY10" fmla="*/ 163513 h 461299"/>
              <a:gd name="connsiteX11" fmla="*/ 88335 w 498475"/>
              <a:gd name="connsiteY11" fmla="*/ 175060 h 461299"/>
              <a:gd name="connsiteX12" fmla="*/ 76788 w 498475"/>
              <a:gd name="connsiteY12" fmla="*/ 221251 h 461299"/>
              <a:gd name="connsiteX13" fmla="*/ 30597 w 498475"/>
              <a:gd name="connsiteY13" fmla="*/ 228949 h 461299"/>
              <a:gd name="connsiteX14" fmla="*/ 19050 w 498475"/>
              <a:gd name="connsiteY14" fmla="*/ 263591 h 461299"/>
              <a:gd name="connsiteX15" fmla="*/ 42145 w 498475"/>
              <a:gd name="connsiteY15" fmla="*/ 302083 h 461299"/>
              <a:gd name="connsiteX16" fmla="*/ 19050 w 498475"/>
              <a:gd name="connsiteY16" fmla="*/ 340574 h 461299"/>
              <a:gd name="connsiteX17" fmla="*/ 30597 w 498475"/>
              <a:gd name="connsiteY17" fmla="*/ 375217 h 461299"/>
              <a:gd name="connsiteX18" fmla="*/ 76788 w 498475"/>
              <a:gd name="connsiteY18" fmla="*/ 386764 h 461299"/>
              <a:gd name="connsiteX19" fmla="*/ 88335 w 498475"/>
              <a:gd name="connsiteY19" fmla="*/ 429105 h 461299"/>
              <a:gd name="connsiteX20" fmla="*/ 122977 w 498475"/>
              <a:gd name="connsiteY20" fmla="*/ 444501 h 461299"/>
              <a:gd name="connsiteX21" fmla="*/ 157620 w 498475"/>
              <a:gd name="connsiteY21" fmla="*/ 421406 h 461299"/>
              <a:gd name="connsiteX22" fmla="*/ 196111 w 498475"/>
              <a:gd name="connsiteY22" fmla="*/ 444501 h 461299"/>
              <a:gd name="connsiteX23" fmla="*/ 230754 w 498475"/>
              <a:gd name="connsiteY23" fmla="*/ 429105 h 461299"/>
              <a:gd name="connsiteX24" fmla="*/ 242301 w 498475"/>
              <a:gd name="connsiteY24" fmla="*/ 386764 h 461299"/>
              <a:gd name="connsiteX25" fmla="*/ 288491 w 498475"/>
              <a:gd name="connsiteY25" fmla="*/ 375217 h 461299"/>
              <a:gd name="connsiteX26" fmla="*/ 300038 w 498475"/>
              <a:gd name="connsiteY26" fmla="*/ 340574 h 461299"/>
              <a:gd name="connsiteX27" fmla="*/ 276943 w 498475"/>
              <a:gd name="connsiteY27" fmla="*/ 302083 h 461299"/>
              <a:gd name="connsiteX28" fmla="*/ 300038 w 498475"/>
              <a:gd name="connsiteY28" fmla="*/ 263591 h 461299"/>
              <a:gd name="connsiteX29" fmla="*/ 288491 w 498475"/>
              <a:gd name="connsiteY29" fmla="*/ 228949 h 461299"/>
              <a:gd name="connsiteX30" fmla="*/ 242301 w 498475"/>
              <a:gd name="connsiteY30" fmla="*/ 221251 h 461299"/>
              <a:gd name="connsiteX31" fmla="*/ 230754 w 498475"/>
              <a:gd name="connsiteY31" fmla="*/ 175060 h 461299"/>
              <a:gd name="connsiteX32" fmla="*/ 199960 w 498475"/>
              <a:gd name="connsiteY32" fmla="*/ 163513 h 461299"/>
              <a:gd name="connsiteX33" fmla="*/ 157620 w 498475"/>
              <a:gd name="connsiteY33" fmla="*/ 186608 h 461299"/>
              <a:gd name="connsiteX34" fmla="*/ 119128 w 498475"/>
              <a:gd name="connsiteY34" fmla="*/ 163513 h 461299"/>
              <a:gd name="connsiteX35" fmla="*/ 123022 w 498475"/>
              <a:gd name="connsiteY35" fmla="*/ 144463 h 461299"/>
              <a:gd name="connsiteX36" fmla="*/ 134555 w 498475"/>
              <a:gd name="connsiteY36" fmla="*/ 152152 h 461299"/>
              <a:gd name="connsiteX37" fmla="*/ 157622 w 498475"/>
              <a:gd name="connsiteY37" fmla="*/ 171374 h 461299"/>
              <a:gd name="connsiteX38" fmla="*/ 184533 w 498475"/>
              <a:gd name="connsiteY38" fmla="*/ 152152 h 461299"/>
              <a:gd name="connsiteX39" fmla="*/ 196066 w 498475"/>
              <a:gd name="connsiteY39" fmla="*/ 144463 h 461299"/>
              <a:gd name="connsiteX40" fmla="*/ 246044 w 498475"/>
              <a:gd name="connsiteY40" fmla="*/ 167529 h 461299"/>
              <a:gd name="connsiteX41" fmla="*/ 249888 w 498475"/>
              <a:gd name="connsiteY41" fmla="*/ 179063 h 461299"/>
              <a:gd name="connsiteX42" fmla="*/ 253733 w 498475"/>
              <a:gd name="connsiteY42" fmla="*/ 209818 h 461299"/>
              <a:gd name="connsiteX43" fmla="*/ 284488 w 498475"/>
              <a:gd name="connsiteY43" fmla="*/ 213663 h 461299"/>
              <a:gd name="connsiteX44" fmla="*/ 296022 w 498475"/>
              <a:gd name="connsiteY44" fmla="*/ 217507 h 461299"/>
              <a:gd name="connsiteX45" fmla="*/ 319088 w 498475"/>
              <a:gd name="connsiteY45" fmla="*/ 267485 h 461299"/>
              <a:gd name="connsiteX46" fmla="*/ 311399 w 498475"/>
              <a:gd name="connsiteY46" fmla="*/ 279018 h 461299"/>
              <a:gd name="connsiteX47" fmla="*/ 292177 w 498475"/>
              <a:gd name="connsiteY47" fmla="*/ 302085 h 461299"/>
              <a:gd name="connsiteX48" fmla="*/ 311399 w 498475"/>
              <a:gd name="connsiteY48" fmla="*/ 328996 h 461299"/>
              <a:gd name="connsiteX49" fmla="*/ 319088 w 498475"/>
              <a:gd name="connsiteY49" fmla="*/ 340529 h 461299"/>
              <a:gd name="connsiteX50" fmla="*/ 296022 w 498475"/>
              <a:gd name="connsiteY50" fmla="*/ 390507 h 461299"/>
              <a:gd name="connsiteX51" fmla="*/ 284488 w 498475"/>
              <a:gd name="connsiteY51" fmla="*/ 394351 h 461299"/>
              <a:gd name="connsiteX52" fmla="*/ 253733 w 498475"/>
              <a:gd name="connsiteY52" fmla="*/ 398196 h 461299"/>
              <a:gd name="connsiteX53" fmla="*/ 249888 w 498475"/>
              <a:gd name="connsiteY53" fmla="*/ 428951 h 461299"/>
              <a:gd name="connsiteX54" fmla="*/ 246044 w 498475"/>
              <a:gd name="connsiteY54" fmla="*/ 440485 h 461299"/>
              <a:gd name="connsiteX55" fmla="*/ 196066 w 498475"/>
              <a:gd name="connsiteY55" fmla="*/ 459707 h 461299"/>
              <a:gd name="connsiteX56" fmla="*/ 184533 w 498475"/>
              <a:gd name="connsiteY56" fmla="*/ 455862 h 461299"/>
              <a:gd name="connsiteX57" fmla="*/ 157622 w 498475"/>
              <a:gd name="connsiteY57" fmla="*/ 436640 h 461299"/>
              <a:gd name="connsiteX58" fmla="*/ 134555 w 498475"/>
              <a:gd name="connsiteY58" fmla="*/ 455862 h 461299"/>
              <a:gd name="connsiteX59" fmla="*/ 126867 w 498475"/>
              <a:gd name="connsiteY59" fmla="*/ 459707 h 461299"/>
              <a:gd name="connsiteX60" fmla="*/ 123022 w 498475"/>
              <a:gd name="connsiteY60" fmla="*/ 459707 h 461299"/>
              <a:gd name="connsiteX61" fmla="*/ 73044 w 498475"/>
              <a:gd name="connsiteY61" fmla="*/ 440485 h 461299"/>
              <a:gd name="connsiteX62" fmla="*/ 69200 w 498475"/>
              <a:gd name="connsiteY62" fmla="*/ 428951 h 461299"/>
              <a:gd name="connsiteX63" fmla="*/ 65355 w 498475"/>
              <a:gd name="connsiteY63" fmla="*/ 398196 h 461299"/>
              <a:gd name="connsiteX64" fmla="*/ 34600 w 498475"/>
              <a:gd name="connsiteY64" fmla="*/ 394351 h 461299"/>
              <a:gd name="connsiteX65" fmla="*/ 23066 w 498475"/>
              <a:gd name="connsiteY65" fmla="*/ 390507 h 461299"/>
              <a:gd name="connsiteX66" fmla="*/ 0 w 498475"/>
              <a:gd name="connsiteY66" fmla="*/ 340529 h 461299"/>
              <a:gd name="connsiteX67" fmla="*/ 7689 w 498475"/>
              <a:gd name="connsiteY67" fmla="*/ 328996 h 461299"/>
              <a:gd name="connsiteX68" fmla="*/ 26911 w 498475"/>
              <a:gd name="connsiteY68" fmla="*/ 302085 h 461299"/>
              <a:gd name="connsiteX69" fmla="*/ 7689 w 498475"/>
              <a:gd name="connsiteY69" fmla="*/ 279018 h 461299"/>
              <a:gd name="connsiteX70" fmla="*/ 0 w 498475"/>
              <a:gd name="connsiteY70" fmla="*/ 267485 h 461299"/>
              <a:gd name="connsiteX71" fmla="*/ 23066 w 498475"/>
              <a:gd name="connsiteY71" fmla="*/ 217507 h 461299"/>
              <a:gd name="connsiteX72" fmla="*/ 34600 w 498475"/>
              <a:gd name="connsiteY72" fmla="*/ 213663 h 461299"/>
              <a:gd name="connsiteX73" fmla="*/ 65355 w 498475"/>
              <a:gd name="connsiteY73" fmla="*/ 209818 h 461299"/>
              <a:gd name="connsiteX74" fmla="*/ 69200 w 498475"/>
              <a:gd name="connsiteY74" fmla="*/ 179063 h 461299"/>
              <a:gd name="connsiteX75" fmla="*/ 73044 w 498475"/>
              <a:gd name="connsiteY75" fmla="*/ 167529 h 461299"/>
              <a:gd name="connsiteX76" fmla="*/ 123022 w 498475"/>
              <a:gd name="connsiteY76" fmla="*/ 144463 h 461299"/>
              <a:gd name="connsiteX77" fmla="*/ 369065 w 498475"/>
              <a:gd name="connsiteY77" fmla="*/ 68263 h 461299"/>
              <a:gd name="connsiteX78" fmla="*/ 338491 w 498475"/>
              <a:gd name="connsiteY78" fmla="*/ 91193 h 461299"/>
              <a:gd name="connsiteX79" fmla="*/ 330847 w 498475"/>
              <a:gd name="connsiteY79" fmla="*/ 129411 h 461299"/>
              <a:gd name="connsiteX80" fmla="*/ 349956 w 498475"/>
              <a:gd name="connsiteY80" fmla="*/ 159985 h 461299"/>
              <a:gd name="connsiteX81" fmla="*/ 388174 w 498475"/>
              <a:gd name="connsiteY81" fmla="*/ 167629 h 461299"/>
              <a:gd name="connsiteX82" fmla="*/ 422570 w 498475"/>
              <a:gd name="connsiteY82" fmla="*/ 148520 h 461299"/>
              <a:gd name="connsiteX83" fmla="*/ 430213 w 498475"/>
              <a:gd name="connsiteY83" fmla="*/ 110302 h 461299"/>
              <a:gd name="connsiteX84" fmla="*/ 380530 w 498475"/>
              <a:gd name="connsiteY84" fmla="*/ 68263 h 461299"/>
              <a:gd name="connsiteX85" fmla="*/ 369065 w 498475"/>
              <a:gd name="connsiteY85" fmla="*/ 68263 h 461299"/>
              <a:gd name="connsiteX86" fmla="*/ 383253 w 498475"/>
              <a:gd name="connsiteY86" fmla="*/ 0 h 461299"/>
              <a:gd name="connsiteX87" fmla="*/ 421661 w 498475"/>
              <a:gd name="connsiteY87" fmla="*/ 11445 h 461299"/>
              <a:gd name="connsiteX88" fmla="*/ 429342 w 498475"/>
              <a:gd name="connsiteY88" fmla="*/ 19075 h 461299"/>
              <a:gd name="connsiteX89" fmla="*/ 433183 w 498475"/>
              <a:gd name="connsiteY89" fmla="*/ 41966 h 461299"/>
              <a:gd name="connsiteX90" fmla="*/ 456227 w 498475"/>
              <a:gd name="connsiteY90" fmla="*/ 38151 h 461299"/>
              <a:gd name="connsiteX91" fmla="*/ 463909 w 498475"/>
              <a:gd name="connsiteY91" fmla="*/ 38151 h 461299"/>
              <a:gd name="connsiteX92" fmla="*/ 486953 w 498475"/>
              <a:gd name="connsiteY92" fmla="*/ 76302 h 461299"/>
              <a:gd name="connsiteX93" fmla="*/ 483112 w 498475"/>
              <a:gd name="connsiteY93" fmla="*/ 83933 h 461299"/>
              <a:gd name="connsiteX94" fmla="*/ 475431 w 498475"/>
              <a:gd name="connsiteY94" fmla="*/ 103008 h 461299"/>
              <a:gd name="connsiteX95" fmla="*/ 490794 w 498475"/>
              <a:gd name="connsiteY95" fmla="*/ 118269 h 461299"/>
              <a:gd name="connsiteX96" fmla="*/ 498475 w 498475"/>
              <a:gd name="connsiteY96" fmla="*/ 125899 h 461299"/>
              <a:gd name="connsiteX97" fmla="*/ 486953 w 498475"/>
              <a:gd name="connsiteY97" fmla="*/ 164050 h 461299"/>
              <a:gd name="connsiteX98" fmla="*/ 479272 w 498475"/>
              <a:gd name="connsiteY98" fmla="*/ 167865 h 461299"/>
              <a:gd name="connsiteX99" fmla="*/ 456227 w 498475"/>
              <a:gd name="connsiteY99" fmla="*/ 175496 h 461299"/>
              <a:gd name="connsiteX100" fmla="*/ 460068 w 498475"/>
              <a:gd name="connsiteY100" fmla="*/ 194571 h 461299"/>
              <a:gd name="connsiteX101" fmla="*/ 460068 w 498475"/>
              <a:gd name="connsiteY101" fmla="*/ 206017 h 461299"/>
              <a:gd name="connsiteX102" fmla="*/ 425501 w 498475"/>
              <a:gd name="connsiteY102" fmla="*/ 228908 h 461299"/>
              <a:gd name="connsiteX103" fmla="*/ 413979 w 498475"/>
              <a:gd name="connsiteY103" fmla="*/ 225093 h 461299"/>
              <a:gd name="connsiteX104" fmla="*/ 394776 w 498475"/>
              <a:gd name="connsiteY104" fmla="*/ 213647 h 461299"/>
              <a:gd name="connsiteX105" fmla="*/ 379413 w 498475"/>
              <a:gd name="connsiteY105" fmla="*/ 228908 h 461299"/>
              <a:gd name="connsiteX106" fmla="*/ 371731 w 498475"/>
              <a:gd name="connsiteY106" fmla="*/ 236538 h 461299"/>
              <a:gd name="connsiteX107" fmla="*/ 333324 w 498475"/>
              <a:gd name="connsiteY107" fmla="*/ 228908 h 461299"/>
              <a:gd name="connsiteX108" fmla="*/ 329483 w 498475"/>
              <a:gd name="connsiteY108" fmla="*/ 217463 h 461299"/>
              <a:gd name="connsiteX109" fmla="*/ 321802 w 498475"/>
              <a:gd name="connsiteY109" fmla="*/ 198386 h 461299"/>
              <a:gd name="connsiteX110" fmla="*/ 302598 w 498475"/>
              <a:gd name="connsiteY110" fmla="*/ 202202 h 461299"/>
              <a:gd name="connsiteX111" fmla="*/ 291076 w 498475"/>
              <a:gd name="connsiteY111" fmla="*/ 198386 h 461299"/>
              <a:gd name="connsiteX112" fmla="*/ 268032 w 498475"/>
              <a:gd name="connsiteY112" fmla="*/ 164050 h 461299"/>
              <a:gd name="connsiteX113" fmla="*/ 271872 w 498475"/>
              <a:gd name="connsiteY113" fmla="*/ 156420 h 461299"/>
              <a:gd name="connsiteX114" fmla="*/ 283395 w 498475"/>
              <a:gd name="connsiteY114" fmla="*/ 137344 h 461299"/>
              <a:gd name="connsiteX115" fmla="*/ 268032 w 498475"/>
              <a:gd name="connsiteY115" fmla="*/ 122084 h 461299"/>
              <a:gd name="connsiteX116" fmla="*/ 260350 w 498475"/>
              <a:gd name="connsiteY116" fmla="*/ 114454 h 461299"/>
              <a:gd name="connsiteX117" fmla="*/ 268032 w 498475"/>
              <a:gd name="connsiteY117" fmla="*/ 76302 h 461299"/>
              <a:gd name="connsiteX118" fmla="*/ 279554 w 498475"/>
              <a:gd name="connsiteY118" fmla="*/ 72487 h 461299"/>
              <a:gd name="connsiteX119" fmla="*/ 298758 w 498475"/>
              <a:gd name="connsiteY119" fmla="*/ 64857 h 461299"/>
              <a:gd name="connsiteX120" fmla="*/ 298758 w 498475"/>
              <a:gd name="connsiteY120" fmla="*/ 41966 h 461299"/>
              <a:gd name="connsiteX121" fmla="*/ 298758 w 498475"/>
              <a:gd name="connsiteY121" fmla="*/ 34336 h 461299"/>
              <a:gd name="connsiteX122" fmla="*/ 333324 w 498475"/>
              <a:gd name="connsiteY122" fmla="*/ 11445 h 461299"/>
              <a:gd name="connsiteX123" fmla="*/ 341005 w 498475"/>
              <a:gd name="connsiteY123" fmla="*/ 15260 h 461299"/>
              <a:gd name="connsiteX124" fmla="*/ 360209 w 498475"/>
              <a:gd name="connsiteY124" fmla="*/ 22891 h 461299"/>
              <a:gd name="connsiteX125" fmla="*/ 375572 w 498475"/>
              <a:gd name="connsiteY125" fmla="*/ 7630 h 461299"/>
              <a:gd name="connsiteX126" fmla="*/ 383253 w 498475"/>
              <a:gd name="connsiteY126" fmla="*/ 0 h 461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498475" h="461299">
                <a:moveTo>
                  <a:pt x="159545" y="228600"/>
                </a:moveTo>
                <a:cubicBezTo>
                  <a:pt x="117899" y="228600"/>
                  <a:pt x="84138" y="261294"/>
                  <a:pt x="84138" y="301625"/>
                </a:cubicBezTo>
                <a:cubicBezTo>
                  <a:pt x="84138" y="341956"/>
                  <a:pt x="117899" y="374650"/>
                  <a:pt x="159545" y="374650"/>
                </a:cubicBezTo>
                <a:cubicBezTo>
                  <a:pt x="201191" y="374650"/>
                  <a:pt x="234952" y="341956"/>
                  <a:pt x="234952" y="301625"/>
                </a:cubicBezTo>
                <a:cubicBezTo>
                  <a:pt x="234952" y="261294"/>
                  <a:pt x="201191" y="228600"/>
                  <a:pt x="159545" y="228600"/>
                </a:cubicBezTo>
                <a:close/>
                <a:moveTo>
                  <a:pt x="159544" y="214313"/>
                </a:moveTo>
                <a:cubicBezTo>
                  <a:pt x="209081" y="214313"/>
                  <a:pt x="249238" y="253760"/>
                  <a:pt x="249238" y="302420"/>
                </a:cubicBezTo>
                <a:cubicBezTo>
                  <a:pt x="249238" y="351080"/>
                  <a:pt x="209081" y="390527"/>
                  <a:pt x="159544" y="390527"/>
                </a:cubicBezTo>
                <a:cubicBezTo>
                  <a:pt x="110007" y="390527"/>
                  <a:pt x="69850" y="351080"/>
                  <a:pt x="69850" y="302420"/>
                </a:cubicBezTo>
                <a:cubicBezTo>
                  <a:pt x="69850" y="253760"/>
                  <a:pt x="110007" y="214313"/>
                  <a:pt x="159544" y="214313"/>
                </a:cubicBezTo>
                <a:close/>
                <a:moveTo>
                  <a:pt x="119128" y="163513"/>
                </a:moveTo>
                <a:cubicBezTo>
                  <a:pt x="107581" y="163513"/>
                  <a:pt x="96033" y="171211"/>
                  <a:pt x="88335" y="175060"/>
                </a:cubicBezTo>
                <a:cubicBezTo>
                  <a:pt x="92184" y="190457"/>
                  <a:pt x="88335" y="209703"/>
                  <a:pt x="76788" y="221251"/>
                </a:cubicBezTo>
                <a:cubicBezTo>
                  <a:pt x="65240" y="232798"/>
                  <a:pt x="45994" y="236647"/>
                  <a:pt x="30597" y="228949"/>
                </a:cubicBezTo>
                <a:cubicBezTo>
                  <a:pt x="26748" y="240496"/>
                  <a:pt x="22899" y="252044"/>
                  <a:pt x="19050" y="263591"/>
                </a:cubicBezTo>
                <a:cubicBezTo>
                  <a:pt x="34446" y="271289"/>
                  <a:pt x="42145" y="286686"/>
                  <a:pt x="42145" y="302083"/>
                </a:cubicBezTo>
                <a:cubicBezTo>
                  <a:pt x="42145" y="321328"/>
                  <a:pt x="34446" y="336725"/>
                  <a:pt x="19050" y="340574"/>
                </a:cubicBezTo>
                <a:cubicBezTo>
                  <a:pt x="22899" y="352122"/>
                  <a:pt x="26748" y="363669"/>
                  <a:pt x="30597" y="375217"/>
                </a:cubicBezTo>
                <a:cubicBezTo>
                  <a:pt x="45994" y="371367"/>
                  <a:pt x="65240" y="375217"/>
                  <a:pt x="76788" y="386764"/>
                </a:cubicBezTo>
                <a:cubicBezTo>
                  <a:pt x="88335" y="398311"/>
                  <a:pt x="92184" y="413708"/>
                  <a:pt x="88335" y="429105"/>
                </a:cubicBezTo>
                <a:cubicBezTo>
                  <a:pt x="96033" y="436803"/>
                  <a:pt x="107581" y="440652"/>
                  <a:pt x="122977" y="444501"/>
                </a:cubicBezTo>
                <a:cubicBezTo>
                  <a:pt x="126826" y="429105"/>
                  <a:pt x="142223" y="421406"/>
                  <a:pt x="157620" y="421406"/>
                </a:cubicBezTo>
                <a:cubicBezTo>
                  <a:pt x="176865" y="421406"/>
                  <a:pt x="192262" y="429105"/>
                  <a:pt x="196111" y="444501"/>
                </a:cubicBezTo>
                <a:cubicBezTo>
                  <a:pt x="211508" y="440652"/>
                  <a:pt x="223055" y="436803"/>
                  <a:pt x="230754" y="429105"/>
                </a:cubicBezTo>
                <a:cubicBezTo>
                  <a:pt x="226904" y="413708"/>
                  <a:pt x="230754" y="398311"/>
                  <a:pt x="242301" y="386764"/>
                </a:cubicBezTo>
                <a:cubicBezTo>
                  <a:pt x="253848" y="375217"/>
                  <a:pt x="273094" y="371367"/>
                  <a:pt x="288491" y="375217"/>
                </a:cubicBezTo>
                <a:cubicBezTo>
                  <a:pt x="292340" y="363669"/>
                  <a:pt x="296189" y="352122"/>
                  <a:pt x="300038" y="340574"/>
                </a:cubicBezTo>
                <a:cubicBezTo>
                  <a:pt x="284642" y="336725"/>
                  <a:pt x="276943" y="321328"/>
                  <a:pt x="276943" y="302083"/>
                </a:cubicBezTo>
                <a:cubicBezTo>
                  <a:pt x="276943" y="286686"/>
                  <a:pt x="284642" y="271289"/>
                  <a:pt x="300038" y="263591"/>
                </a:cubicBezTo>
                <a:cubicBezTo>
                  <a:pt x="296189" y="252044"/>
                  <a:pt x="292340" y="240496"/>
                  <a:pt x="288491" y="228949"/>
                </a:cubicBezTo>
                <a:cubicBezTo>
                  <a:pt x="273094" y="236647"/>
                  <a:pt x="253848" y="232798"/>
                  <a:pt x="242301" y="221251"/>
                </a:cubicBezTo>
                <a:cubicBezTo>
                  <a:pt x="230754" y="209703"/>
                  <a:pt x="226904" y="190457"/>
                  <a:pt x="230754" y="175060"/>
                </a:cubicBezTo>
                <a:cubicBezTo>
                  <a:pt x="223055" y="171211"/>
                  <a:pt x="211508" y="163513"/>
                  <a:pt x="199960" y="163513"/>
                </a:cubicBezTo>
                <a:cubicBezTo>
                  <a:pt x="192262" y="175060"/>
                  <a:pt x="176865" y="186608"/>
                  <a:pt x="157620" y="186608"/>
                </a:cubicBezTo>
                <a:cubicBezTo>
                  <a:pt x="142223" y="186608"/>
                  <a:pt x="126826" y="175060"/>
                  <a:pt x="119128" y="163513"/>
                </a:cubicBezTo>
                <a:close/>
                <a:moveTo>
                  <a:pt x="123022" y="144463"/>
                </a:moveTo>
                <a:cubicBezTo>
                  <a:pt x="126867" y="144463"/>
                  <a:pt x="130711" y="148307"/>
                  <a:pt x="134555" y="152152"/>
                </a:cubicBezTo>
                <a:cubicBezTo>
                  <a:pt x="134555" y="163685"/>
                  <a:pt x="146089" y="171374"/>
                  <a:pt x="157622" y="171374"/>
                </a:cubicBezTo>
                <a:cubicBezTo>
                  <a:pt x="173000" y="171374"/>
                  <a:pt x="184533" y="163685"/>
                  <a:pt x="184533" y="152152"/>
                </a:cubicBezTo>
                <a:cubicBezTo>
                  <a:pt x="188377" y="148307"/>
                  <a:pt x="192222" y="144463"/>
                  <a:pt x="196066" y="144463"/>
                </a:cubicBezTo>
                <a:cubicBezTo>
                  <a:pt x="211444" y="148307"/>
                  <a:pt x="230666" y="155996"/>
                  <a:pt x="246044" y="167529"/>
                </a:cubicBezTo>
                <a:cubicBezTo>
                  <a:pt x="249888" y="167529"/>
                  <a:pt x="249888" y="175218"/>
                  <a:pt x="249888" y="179063"/>
                </a:cubicBezTo>
                <a:cubicBezTo>
                  <a:pt x="242200" y="186752"/>
                  <a:pt x="242200" y="202129"/>
                  <a:pt x="253733" y="209818"/>
                </a:cubicBezTo>
                <a:cubicBezTo>
                  <a:pt x="261422" y="217507"/>
                  <a:pt x="276799" y="221352"/>
                  <a:pt x="284488" y="213663"/>
                </a:cubicBezTo>
                <a:cubicBezTo>
                  <a:pt x="288333" y="213663"/>
                  <a:pt x="292177" y="213663"/>
                  <a:pt x="296022" y="217507"/>
                </a:cubicBezTo>
                <a:cubicBezTo>
                  <a:pt x="307555" y="232885"/>
                  <a:pt x="315244" y="248263"/>
                  <a:pt x="319088" y="267485"/>
                </a:cubicBezTo>
                <a:cubicBezTo>
                  <a:pt x="319088" y="271330"/>
                  <a:pt x="315244" y="275174"/>
                  <a:pt x="311399" y="279018"/>
                </a:cubicBezTo>
                <a:cubicBezTo>
                  <a:pt x="299866" y="279018"/>
                  <a:pt x="292177" y="290552"/>
                  <a:pt x="292177" y="302085"/>
                </a:cubicBezTo>
                <a:cubicBezTo>
                  <a:pt x="292177" y="317463"/>
                  <a:pt x="299866" y="325152"/>
                  <a:pt x="311399" y="328996"/>
                </a:cubicBezTo>
                <a:cubicBezTo>
                  <a:pt x="315244" y="328996"/>
                  <a:pt x="319088" y="332840"/>
                  <a:pt x="319088" y="340529"/>
                </a:cubicBezTo>
                <a:cubicBezTo>
                  <a:pt x="311399" y="355907"/>
                  <a:pt x="307555" y="375129"/>
                  <a:pt x="296022" y="390507"/>
                </a:cubicBezTo>
                <a:cubicBezTo>
                  <a:pt x="292177" y="394351"/>
                  <a:pt x="288333" y="394351"/>
                  <a:pt x="284488" y="394351"/>
                </a:cubicBezTo>
                <a:cubicBezTo>
                  <a:pt x="272955" y="386663"/>
                  <a:pt x="261422" y="386663"/>
                  <a:pt x="253733" y="398196"/>
                </a:cubicBezTo>
                <a:cubicBezTo>
                  <a:pt x="242200" y="405885"/>
                  <a:pt x="242200" y="417418"/>
                  <a:pt x="249888" y="428951"/>
                </a:cubicBezTo>
                <a:cubicBezTo>
                  <a:pt x="249888" y="432796"/>
                  <a:pt x="249888" y="436640"/>
                  <a:pt x="246044" y="440485"/>
                </a:cubicBezTo>
                <a:cubicBezTo>
                  <a:pt x="230666" y="448173"/>
                  <a:pt x="211444" y="455862"/>
                  <a:pt x="196066" y="459707"/>
                </a:cubicBezTo>
                <a:cubicBezTo>
                  <a:pt x="192222" y="463551"/>
                  <a:pt x="184533" y="459707"/>
                  <a:pt x="184533" y="455862"/>
                </a:cubicBezTo>
                <a:cubicBezTo>
                  <a:pt x="180689" y="444329"/>
                  <a:pt x="173000" y="436640"/>
                  <a:pt x="157622" y="436640"/>
                </a:cubicBezTo>
                <a:cubicBezTo>
                  <a:pt x="146089" y="436640"/>
                  <a:pt x="138400" y="444329"/>
                  <a:pt x="134555" y="455862"/>
                </a:cubicBezTo>
                <a:cubicBezTo>
                  <a:pt x="130711" y="459707"/>
                  <a:pt x="130711" y="459707"/>
                  <a:pt x="126867" y="459707"/>
                </a:cubicBezTo>
                <a:cubicBezTo>
                  <a:pt x="126867" y="459707"/>
                  <a:pt x="126867" y="459707"/>
                  <a:pt x="123022" y="459707"/>
                </a:cubicBezTo>
                <a:cubicBezTo>
                  <a:pt x="107644" y="455862"/>
                  <a:pt x="88422" y="448173"/>
                  <a:pt x="73044" y="440485"/>
                </a:cubicBezTo>
                <a:cubicBezTo>
                  <a:pt x="69200" y="436640"/>
                  <a:pt x="69200" y="432796"/>
                  <a:pt x="69200" y="428951"/>
                </a:cubicBezTo>
                <a:cubicBezTo>
                  <a:pt x="76889" y="417418"/>
                  <a:pt x="73044" y="405885"/>
                  <a:pt x="65355" y="398196"/>
                </a:cubicBezTo>
                <a:cubicBezTo>
                  <a:pt x="57666" y="386663"/>
                  <a:pt x="42289" y="386663"/>
                  <a:pt x="34600" y="394351"/>
                </a:cubicBezTo>
                <a:cubicBezTo>
                  <a:pt x="30755" y="394351"/>
                  <a:pt x="26911" y="394351"/>
                  <a:pt x="23066" y="390507"/>
                </a:cubicBezTo>
                <a:cubicBezTo>
                  <a:pt x="11533" y="375129"/>
                  <a:pt x="3844" y="355907"/>
                  <a:pt x="0" y="340529"/>
                </a:cubicBezTo>
                <a:cubicBezTo>
                  <a:pt x="0" y="332840"/>
                  <a:pt x="3844" y="328996"/>
                  <a:pt x="7689" y="328996"/>
                </a:cubicBezTo>
                <a:cubicBezTo>
                  <a:pt x="19222" y="325152"/>
                  <a:pt x="26911" y="317463"/>
                  <a:pt x="26911" y="302085"/>
                </a:cubicBezTo>
                <a:cubicBezTo>
                  <a:pt x="26911" y="290552"/>
                  <a:pt x="19222" y="279018"/>
                  <a:pt x="7689" y="279018"/>
                </a:cubicBezTo>
                <a:cubicBezTo>
                  <a:pt x="3844" y="275174"/>
                  <a:pt x="0" y="271330"/>
                  <a:pt x="0" y="267485"/>
                </a:cubicBezTo>
                <a:cubicBezTo>
                  <a:pt x="3844" y="248263"/>
                  <a:pt x="11533" y="232885"/>
                  <a:pt x="23066" y="217507"/>
                </a:cubicBezTo>
                <a:cubicBezTo>
                  <a:pt x="26911" y="213663"/>
                  <a:pt x="30755" y="213663"/>
                  <a:pt x="34600" y="213663"/>
                </a:cubicBezTo>
                <a:cubicBezTo>
                  <a:pt x="42289" y="221352"/>
                  <a:pt x="57666" y="217507"/>
                  <a:pt x="65355" y="209818"/>
                </a:cubicBezTo>
                <a:cubicBezTo>
                  <a:pt x="73044" y="202129"/>
                  <a:pt x="76889" y="186752"/>
                  <a:pt x="69200" y="179063"/>
                </a:cubicBezTo>
                <a:cubicBezTo>
                  <a:pt x="69200" y="175218"/>
                  <a:pt x="69200" y="167529"/>
                  <a:pt x="73044" y="167529"/>
                </a:cubicBezTo>
                <a:cubicBezTo>
                  <a:pt x="88422" y="155996"/>
                  <a:pt x="107644" y="148307"/>
                  <a:pt x="123022" y="144463"/>
                </a:cubicBezTo>
                <a:close/>
                <a:moveTo>
                  <a:pt x="369065" y="68263"/>
                </a:moveTo>
                <a:cubicBezTo>
                  <a:pt x="357599" y="72085"/>
                  <a:pt x="346134" y="79728"/>
                  <a:pt x="338491" y="91193"/>
                </a:cubicBezTo>
                <a:cubicBezTo>
                  <a:pt x="330847" y="102659"/>
                  <a:pt x="327025" y="114124"/>
                  <a:pt x="330847" y="129411"/>
                </a:cubicBezTo>
                <a:cubicBezTo>
                  <a:pt x="330847" y="140877"/>
                  <a:pt x="338491" y="152342"/>
                  <a:pt x="349956" y="159985"/>
                </a:cubicBezTo>
                <a:cubicBezTo>
                  <a:pt x="361421" y="167629"/>
                  <a:pt x="372887" y="171451"/>
                  <a:pt x="388174" y="167629"/>
                </a:cubicBezTo>
                <a:cubicBezTo>
                  <a:pt x="399639" y="167629"/>
                  <a:pt x="411104" y="159985"/>
                  <a:pt x="422570" y="148520"/>
                </a:cubicBezTo>
                <a:cubicBezTo>
                  <a:pt x="430213" y="137055"/>
                  <a:pt x="430213" y="125589"/>
                  <a:pt x="430213" y="110302"/>
                </a:cubicBezTo>
                <a:cubicBezTo>
                  <a:pt x="426391" y="87372"/>
                  <a:pt x="403461" y="68263"/>
                  <a:pt x="380530" y="68263"/>
                </a:cubicBezTo>
                <a:cubicBezTo>
                  <a:pt x="376708" y="68263"/>
                  <a:pt x="372887" y="68263"/>
                  <a:pt x="369065" y="68263"/>
                </a:cubicBezTo>
                <a:close/>
                <a:moveTo>
                  <a:pt x="383253" y="0"/>
                </a:moveTo>
                <a:cubicBezTo>
                  <a:pt x="398616" y="3815"/>
                  <a:pt x="410139" y="3815"/>
                  <a:pt x="421661" y="11445"/>
                </a:cubicBezTo>
                <a:cubicBezTo>
                  <a:pt x="425501" y="11445"/>
                  <a:pt x="429342" y="15260"/>
                  <a:pt x="429342" y="19075"/>
                </a:cubicBezTo>
                <a:cubicBezTo>
                  <a:pt x="425501" y="26706"/>
                  <a:pt x="425501" y="34336"/>
                  <a:pt x="433183" y="41966"/>
                </a:cubicBezTo>
                <a:cubicBezTo>
                  <a:pt x="440864" y="45781"/>
                  <a:pt x="448546" y="45781"/>
                  <a:pt x="456227" y="38151"/>
                </a:cubicBezTo>
                <a:cubicBezTo>
                  <a:pt x="460068" y="38151"/>
                  <a:pt x="463909" y="38151"/>
                  <a:pt x="463909" y="38151"/>
                </a:cubicBezTo>
                <a:cubicBezTo>
                  <a:pt x="475431" y="49596"/>
                  <a:pt x="483112" y="61042"/>
                  <a:pt x="486953" y="76302"/>
                </a:cubicBezTo>
                <a:cubicBezTo>
                  <a:pt x="490794" y="80117"/>
                  <a:pt x="486953" y="83933"/>
                  <a:pt x="483112" y="83933"/>
                </a:cubicBezTo>
                <a:cubicBezTo>
                  <a:pt x="475431" y="87748"/>
                  <a:pt x="471590" y="95378"/>
                  <a:pt x="475431" y="103008"/>
                </a:cubicBezTo>
                <a:cubicBezTo>
                  <a:pt x="475431" y="110638"/>
                  <a:pt x="483112" y="118269"/>
                  <a:pt x="490794" y="118269"/>
                </a:cubicBezTo>
                <a:cubicBezTo>
                  <a:pt x="494635" y="118269"/>
                  <a:pt x="498475" y="122084"/>
                  <a:pt x="498475" y="125899"/>
                </a:cubicBezTo>
                <a:cubicBezTo>
                  <a:pt x="494635" y="137344"/>
                  <a:pt x="494635" y="152605"/>
                  <a:pt x="486953" y="164050"/>
                </a:cubicBezTo>
                <a:cubicBezTo>
                  <a:pt x="486953" y="167865"/>
                  <a:pt x="483112" y="171681"/>
                  <a:pt x="479272" y="167865"/>
                </a:cubicBezTo>
                <a:cubicBezTo>
                  <a:pt x="471590" y="167865"/>
                  <a:pt x="463909" y="167865"/>
                  <a:pt x="456227" y="175496"/>
                </a:cubicBezTo>
                <a:cubicBezTo>
                  <a:pt x="452387" y="183126"/>
                  <a:pt x="452387" y="190756"/>
                  <a:pt x="460068" y="194571"/>
                </a:cubicBezTo>
                <a:cubicBezTo>
                  <a:pt x="460068" y="198386"/>
                  <a:pt x="460068" y="202202"/>
                  <a:pt x="460068" y="206017"/>
                </a:cubicBezTo>
                <a:cubicBezTo>
                  <a:pt x="448546" y="217463"/>
                  <a:pt x="437024" y="225093"/>
                  <a:pt x="425501" y="228908"/>
                </a:cubicBezTo>
                <a:cubicBezTo>
                  <a:pt x="421661" y="228908"/>
                  <a:pt x="413979" y="228908"/>
                  <a:pt x="413979" y="225093"/>
                </a:cubicBezTo>
                <a:cubicBezTo>
                  <a:pt x="410139" y="217463"/>
                  <a:pt x="402457" y="213647"/>
                  <a:pt x="394776" y="213647"/>
                </a:cubicBezTo>
                <a:cubicBezTo>
                  <a:pt x="387094" y="217463"/>
                  <a:pt x="383253" y="221278"/>
                  <a:pt x="379413" y="228908"/>
                </a:cubicBezTo>
                <a:cubicBezTo>
                  <a:pt x="379413" y="236538"/>
                  <a:pt x="375572" y="236538"/>
                  <a:pt x="371731" y="236538"/>
                </a:cubicBezTo>
                <a:cubicBezTo>
                  <a:pt x="360209" y="236538"/>
                  <a:pt x="344846" y="232723"/>
                  <a:pt x="333324" y="228908"/>
                </a:cubicBezTo>
                <a:cubicBezTo>
                  <a:pt x="329483" y="228908"/>
                  <a:pt x="325643" y="221278"/>
                  <a:pt x="329483" y="217463"/>
                </a:cubicBezTo>
                <a:cubicBezTo>
                  <a:pt x="333324" y="213647"/>
                  <a:pt x="329483" y="202202"/>
                  <a:pt x="321802" y="198386"/>
                </a:cubicBezTo>
                <a:cubicBezTo>
                  <a:pt x="314120" y="194571"/>
                  <a:pt x="306439" y="194571"/>
                  <a:pt x="302598" y="202202"/>
                </a:cubicBezTo>
                <a:cubicBezTo>
                  <a:pt x="298758" y="202202"/>
                  <a:pt x="294917" y="202202"/>
                  <a:pt x="291076" y="198386"/>
                </a:cubicBezTo>
                <a:cubicBezTo>
                  <a:pt x="279554" y="190756"/>
                  <a:pt x="271872" y="179311"/>
                  <a:pt x="268032" y="164050"/>
                </a:cubicBezTo>
                <a:cubicBezTo>
                  <a:pt x="268032" y="160235"/>
                  <a:pt x="268032" y="156420"/>
                  <a:pt x="271872" y="156420"/>
                </a:cubicBezTo>
                <a:cubicBezTo>
                  <a:pt x="279554" y="152605"/>
                  <a:pt x="283395" y="144975"/>
                  <a:pt x="283395" y="137344"/>
                </a:cubicBezTo>
                <a:cubicBezTo>
                  <a:pt x="279554" y="129714"/>
                  <a:pt x="275713" y="122084"/>
                  <a:pt x="268032" y="122084"/>
                </a:cubicBezTo>
                <a:cubicBezTo>
                  <a:pt x="264191" y="122084"/>
                  <a:pt x="260350" y="118269"/>
                  <a:pt x="260350" y="114454"/>
                </a:cubicBezTo>
                <a:cubicBezTo>
                  <a:pt x="260350" y="103008"/>
                  <a:pt x="264191" y="87748"/>
                  <a:pt x="268032" y="76302"/>
                </a:cubicBezTo>
                <a:cubicBezTo>
                  <a:pt x="268032" y="72487"/>
                  <a:pt x="275713" y="68672"/>
                  <a:pt x="279554" y="72487"/>
                </a:cubicBezTo>
                <a:cubicBezTo>
                  <a:pt x="287235" y="72487"/>
                  <a:pt x="294917" y="72487"/>
                  <a:pt x="298758" y="64857"/>
                </a:cubicBezTo>
                <a:cubicBezTo>
                  <a:pt x="302598" y="57227"/>
                  <a:pt x="302598" y="49596"/>
                  <a:pt x="298758" y="41966"/>
                </a:cubicBezTo>
                <a:cubicBezTo>
                  <a:pt x="294917" y="41966"/>
                  <a:pt x="294917" y="34336"/>
                  <a:pt x="298758" y="34336"/>
                </a:cubicBezTo>
                <a:cubicBezTo>
                  <a:pt x="306439" y="22891"/>
                  <a:pt x="317961" y="15260"/>
                  <a:pt x="333324" y="11445"/>
                </a:cubicBezTo>
                <a:cubicBezTo>
                  <a:pt x="337165" y="7630"/>
                  <a:pt x="341005" y="11445"/>
                  <a:pt x="341005" y="15260"/>
                </a:cubicBezTo>
                <a:cubicBezTo>
                  <a:pt x="344846" y="22891"/>
                  <a:pt x="352528" y="26706"/>
                  <a:pt x="360209" y="22891"/>
                </a:cubicBezTo>
                <a:cubicBezTo>
                  <a:pt x="367891" y="22891"/>
                  <a:pt x="375572" y="15260"/>
                  <a:pt x="375572" y="7630"/>
                </a:cubicBezTo>
                <a:cubicBezTo>
                  <a:pt x="375572" y="3815"/>
                  <a:pt x="379413" y="0"/>
                  <a:pt x="383253" y="0"/>
                </a:cubicBezTo>
                <a:close/>
              </a:path>
            </a:pathLst>
          </a:custGeom>
          <a:solidFill>
            <a:srgbClr val="5E676A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9" name="Test"/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5847712" y="3122034"/>
            <a:ext cx="1247711" cy="1199720"/>
          </a:xfrm>
          <a:custGeom>
            <a:avLst/>
            <a:gdLst>
              <a:gd name="connsiteX0" fmla="*/ 271463 w 577850"/>
              <a:gd name="connsiteY0" fmla="*/ 449263 h 555625"/>
              <a:gd name="connsiteX1" fmla="*/ 271463 w 577850"/>
              <a:gd name="connsiteY1" fmla="*/ 471488 h 555625"/>
              <a:gd name="connsiteX2" fmla="*/ 295276 w 577850"/>
              <a:gd name="connsiteY2" fmla="*/ 498476 h 555625"/>
              <a:gd name="connsiteX3" fmla="*/ 317501 w 577850"/>
              <a:gd name="connsiteY3" fmla="*/ 498476 h 555625"/>
              <a:gd name="connsiteX4" fmla="*/ 76200 w 577850"/>
              <a:gd name="connsiteY4" fmla="*/ 406400 h 555625"/>
              <a:gd name="connsiteX5" fmla="*/ 76200 w 577850"/>
              <a:gd name="connsiteY5" fmla="*/ 457200 h 555625"/>
              <a:gd name="connsiteX6" fmla="*/ 127000 w 577850"/>
              <a:gd name="connsiteY6" fmla="*/ 457200 h 555625"/>
              <a:gd name="connsiteX7" fmla="*/ 127000 w 577850"/>
              <a:gd name="connsiteY7" fmla="*/ 406400 h 555625"/>
              <a:gd name="connsiteX8" fmla="*/ 69472 w 577850"/>
              <a:gd name="connsiteY8" fmla="*/ 392113 h 555625"/>
              <a:gd name="connsiteX9" fmla="*/ 133728 w 577850"/>
              <a:gd name="connsiteY9" fmla="*/ 392113 h 555625"/>
              <a:gd name="connsiteX10" fmla="*/ 141288 w 577850"/>
              <a:gd name="connsiteY10" fmla="*/ 399673 h 555625"/>
              <a:gd name="connsiteX11" fmla="*/ 141288 w 577850"/>
              <a:gd name="connsiteY11" fmla="*/ 463929 h 555625"/>
              <a:gd name="connsiteX12" fmla="*/ 133728 w 577850"/>
              <a:gd name="connsiteY12" fmla="*/ 471488 h 555625"/>
              <a:gd name="connsiteX13" fmla="*/ 69472 w 577850"/>
              <a:gd name="connsiteY13" fmla="*/ 471488 h 555625"/>
              <a:gd name="connsiteX14" fmla="*/ 61913 w 577850"/>
              <a:gd name="connsiteY14" fmla="*/ 467708 h 555625"/>
              <a:gd name="connsiteX15" fmla="*/ 61913 w 577850"/>
              <a:gd name="connsiteY15" fmla="*/ 463929 h 555625"/>
              <a:gd name="connsiteX16" fmla="*/ 61913 w 577850"/>
              <a:gd name="connsiteY16" fmla="*/ 399673 h 555625"/>
              <a:gd name="connsiteX17" fmla="*/ 69472 w 577850"/>
              <a:gd name="connsiteY17" fmla="*/ 392113 h 555625"/>
              <a:gd name="connsiteX18" fmla="*/ 172704 w 577850"/>
              <a:gd name="connsiteY18" fmla="*/ 314325 h 555625"/>
              <a:gd name="connsiteX19" fmla="*/ 301960 w 577850"/>
              <a:gd name="connsiteY19" fmla="*/ 314325 h 555625"/>
              <a:gd name="connsiteX20" fmla="*/ 309563 w 577850"/>
              <a:gd name="connsiteY20" fmla="*/ 322263 h 555625"/>
              <a:gd name="connsiteX21" fmla="*/ 301960 w 577850"/>
              <a:gd name="connsiteY21" fmla="*/ 330200 h 555625"/>
              <a:gd name="connsiteX22" fmla="*/ 172704 w 577850"/>
              <a:gd name="connsiteY22" fmla="*/ 330200 h 555625"/>
              <a:gd name="connsiteX23" fmla="*/ 165100 w 577850"/>
              <a:gd name="connsiteY23" fmla="*/ 322263 h 555625"/>
              <a:gd name="connsiteX24" fmla="*/ 172704 w 577850"/>
              <a:gd name="connsiteY24" fmla="*/ 314325 h 555625"/>
              <a:gd name="connsiteX25" fmla="*/ 76200 w 577850"/>
              <a:gd name="connsiteY25" fmla="*/ 295275 h 555625"/>
              <a:gd name="connsiteX26" fmla="*/ 76200 w 577850"/>
              <a:gd name="connsiteY26" fmla="*/ 346075 h 555625"/>
              <a:gd name="connsiteX27" fmla="*/ 127000 w 577850"/>
              <a:gd name="connsiteY27" fmla="*/ 346075 h 555625"/>
              <a:gd name="connsiteX28" fmla="*/ 127000 w 577850"/>
              <a:gd name="connsiteY28" fmla="*/ 295275 h 555625"/>
              <a:gd name="connsiteX29" fmla="*/ 69472 w 577850"/>
              <a:gd name="connsiteY29" fmla="*/ 279400 h 555625"/>
              <a:gd name="connsiteX30" fmla="*/ 133728 w 577850"/>
              <a:gd name="connsiteY30" fmla="*/ 279400 h 555625"/>
              <a:gd name="connsiteX31" fmla="*/ 141288 w 577850"/>
              <a:gd name="connsiteY31" fmla="*/ 287111 h 555625"/>
              <a:gd name="connsiteX32" fmla="*/ 141288 w 577850"/>
              <a:gd name="connsiteY32" fmla="*/ 352652 h 555625"/>
              <a:gd name="connsiteX33" fmla="*/ 133728 w 577850"/>
              <a:gd name="connsiteY33" fmla="*/ 360363 h 555625"/>
              <a:gd name="connsiteX34" fmla="*/ 69472 w 577850"/>
              <a:gd name="connsiteY34" fmla="*/ 360363 h 555625"/>
              <a:gd name="connsiteX35" fmla="*/ 61913 w 577850"/>
              <a:gd name="connsiteY35" fmla="*/ 360363 h 555625"/>
              <a:gd name="connsiteX36" fmla="*/ 61913 w 577850"/>
              <a:gd name="connsiteY36" fmla="*/ 352652 h 555625"/>
              <a:gd name="connsiteX37" fmla="*/ 61913 w 577850"/>
              <a:gd name="connsiteY37" fmla="*/ 287111 h 555625"/>
              <a:gd name="connsiteX38" fmla="*/ 69472 w 577850"/>
              <a:gd name="connsiteY38" fmla="*/ 279400 h 555625"/>
              <a:gd name="connsiteX39" fmla="*/ 531814 w 577850"/>
              <a:gd name="connsiteY39" fmla="*/ 246063 h 555625"/>
              <a:gd name="connsiteX40" fmla="*/ 371476 w 577850"/>
              <a:gd name="connsiteY40" fmla="*/ 406401 h 555625"/>
              <a:gd name="connsiteX41" fmla="*/ 352426 w 577850"/>
              <a:gd name="connsiteY41" fmla="*/ 425451 h 555625"/>
              <a:gd name="connsiteX42" fmla="*/ 309563 w 577850"/>
              <a:gd name="connsiteY42" fmla="*/ 468314 h 555625"/>
              <a:gd name="connsiteX43" fmla="*/ 336551 w 577850"/>
              <a:gd name="connsiteY43" fmla="*/ 495301 h 555625"/>
              <a:gd name="connsiteX44" fmla="*/ 352426 w 577850"/>
              <a:gd name="connsiteY44" fmla="*/ 476251 h 555625"/>
              <a:gd name="connsiteX45" fmla="*/ 371476 w 577850"/>
              <a:gd name="connsiteY45" fmla="*/ 460376 h 555625"/>
              <a:gd name="connsiteX46" fmla="*/ 558801 w 577850"/>
              <a:gd name="connsiteY46" fmla="*/ 273051 h 555625"/>
              <a:gd name="connsiteX47" fmla="*/ 498476 w 577850"/>
              <a:gd name="connsiteY47" fmla="*/ 207963 h 555625"/>
              <a:gd name="connsiteX48" fmla="*/ 371476 w 577850"/>
              <a:gd name="connsiteY48" fmla="*/ 333376 h 555625"/>
              <a:gd name="connsiteX49" fmla="*/ 352426 w 577850"/>
              <a:gd name="connsiteY49" fmla="*/ 352426 h 555625"/>
              <a:gd name="connsiteX50" fmla="*/ 284163 w 577850"/>
              <a:gd name="connsiteY50" fmla="*/ 422276 h 555625"/>
              <a:gd name="connsiteX51" fmla="*/ 271463 w 577850"/>
              <a:gd name="connsiteY51" fmla="*/ 433389 h 555625"/>
              <a:gd name="connsiteX52" fmla="*/ 279401 w 577850"/>
              <a:gd name="connsiteY52" fmla="*/ 438151 h 555625"/>
              <a:gd name="connsiteX53" fmla="*/ 298451 w 577850"/>
              <a:gd name="connsiteY53" fmla="*/ 457201 h 555625"/>
              <a:gd name="connsiteX54" fmla="*/ 352426 w 577850"/>
              <a:gd name="connsiteY54" fmla="*/ 403226 h 555625"/>
              <a:gd name="connsiteX55" fmla="*/ 371476 w 577850"/>
              <a:gd name="connsiteY55" fmla="*/ 387351 h 555625"/>
              <a:gd name="connsiteX56" fmla="*/ 520701 w 577850"/>
              <a:gd name="connsiteY56" fmla="*/ 233363 h 555625"/>
              <a:gd name="connsiteX57" fmla="*/ 172704 w 577850"/>
              <a:gd name="connsiteY57" fmla="*/ 203200 h 555625"/>
              <a:gd name="connsiteX58" fmla="*/ 301960 w 577850"/>
              <a:gd name="connsiteY58" fmla="*/ 203200 h 555625"/>
              <a:gd name="connsiteX59" fmla="*/ 309563 w 577850"/>
              <a:gd name="connsiteY59" fmla="*/ 211138 h 555625"/>
              <a:gd name="connsiteX60" fmla="*/ 301960 w 577850"/>
              <a:gd name="connsiteY60" fmla="*/ 219075 h 555625"/>
              <a:gd name="connsiteX61" fmla="*/ 172704 w 577850"/>
              <a:gd name="connsiteY61" fmla="*/ 219075 h 555625"/>
              <a:gd name="connsiteX62" fmla="*/ 165100 w 577850"/>
              <a:gd name="connsiteY62" fmla="*/ 211138 h 555625"/>
              <a:gd name="connsiteX63" fmla="*/ 172704 w 577850"/>
              <a:gd name="connsiteY63" fmla="*/ 203200 h 555625"/>
              <a:gd name="connsiteX64" fmla="*/ 76200 w 577850"/>
              <a:gd name="connsiteY64" fmla="*/ 184150 h 555625"/>
              <a:gd name="connsiteX65" fmla="*/ 76200 w 577850"/>
              <a:gd name="connsiteY65" fmla="*/ 238125 h 555625"/>
              <a:gd name="connsiteX66" fmla="*/ 127000 w 577850"/>
              <a:gd name="connsiteY66" fmla="*/ 238125 h 555625"/>
              <a:gd name="connsiteX67" fmla="*/ 127000 w 577850"/>
              <a:gd name="connsiteY67" fmla="*/ 184150 h 555625"/>
              <a:gd name="connsiteX68" fmla="*/ 69472 w 577850"/>
              <a:gd name="connsiteY68" fmla="*/ 173038 h 555625"/>
              <a:gd name="connsiteX69" fmla="*/ 133728 w 577850"/>
              <a:gd name="connsiteY69" fmla="*/ 173038 h 555625"/>
              <a:gd name="connsiteX70" fmla="*/ 141288 w 577850"/>
              <a:gd name="connsiteY70" fmla="*/ 180749 h 555625"/>
              <a:gd name="connsiteX71" fmla="*/ 141288 w 577850"/>
              <a:gd name="connsiteY71" fmla="*/ 246290 h 555625"/>
              <a:gd name="connsiteX72" fmla="*/ 133728 w 577850"/>
              <a:gd name="connsiteY72" fmla="*/ 250146 h 555625"/>
              <a:gd name="connsiteX73" fmla="*/ 69472 w 577850"/>
              <a:gd name="connsiteY73" fmla="*/ 254001 h 555625"/>
              <a:gd name="connsiteX74" fmla="*/ 61913 w 577850"/>
              <a:gd name="connsiteY74" fmla="*/ 250146 h 555625"/>
              <a:gd name="connsiteX75" fmla="*/ 61913 w 577850"/>
              <a:gd name="connsiteY75" fmla="*/ 246290 h 555625"/>
              <a:gd name="connsiteX76" fmla="*/ 61913 w 577850"/>
              <a:gd name="connsiteY76" fmla="*/ 180749 h 555625"/>
              <a:gd name="connsiteX77" fmla="*/ 69472 w 577850"/>
              <a:gd name="connsiteY77" fmla="*/ 173038 h 555625"/>
              <a:gd name="connsiteX78" fmla="*/ 26714 w 577850"/>
              <a:gd name="connsiteY78" fmla="*/ 69850 h 555625"/>
              <a:gd name="connsiteX79" fmla="*/ 19050 w 577850"/>
              <a:gd name="connsiteY79" fmla="*/ 77501 h 555625"/>
              <a:gd name="connsiteX80" fmla="*/ 19050 w 577850"/>
              <a:gd name="connsiteY80" fmla="*/ 528924 h 555625"/>
              <a:gd name="connsiteX81" fmla="*/ 26714 w 577850"/>
              <a:gd name="connsiteY81" fmla="*/ 536575 h 555625"/>
              <a:gd name="connsiteX82" fmla="*/ 344761 w 577850"/>
              <a:gd name="connsiteY82" fmla="*/ 536575 h 555625"/>
              <a:gd name="connsiteX83" fmla="*/ 352425 w 577850"/>
              <a:gd name="connsiteY83" fmla="*/ 528924 h 555625"/>
              <a:gd name="connsiteX84" fmla="*/ 352425 w 577850"/>
              <a:gd name="connsiteY84" fmla="*/ 498319 h 555625"/>
              <a:gd name="connsiteX85" fmla="*/ 340930 w 577850"/>
              <a:gd name="connsiteY85" fmla="*/ 509796 h 555625"/>
              <a:gd name="connsiteX86" fmla="*/ 337098 w 577850"/>
              <a:gd name="connsiteY86" fmla="*/ 509796 h 555625"/>
              <a:gd name="connsiteX87" fmla="*/ 337098 w 577850"/>
              <a:gd name="connsiteY87" fmla="*/ 513621 h 555625"/>
              <a:gd name="connsiteX88" fmla="*/ 294947 w 577850"/>
              <a:gd name="connsiteY88" fmla="*/ 513621 h 555625"/>
              <a:gd name="connsiteX89" fmla="*/ 264292 w 577850"/>
              <a:gd name="connsiteY89" fmla="*/ 513621 h 555625"/>
              <a:gd name="connsiteX90" fmla="*/ 256628 w 577850"/>
              <a:gd name="connsiteY90" fmla="*/ 505970 h 555625"/>
              <a:gd name="connsiteX91" fmla="*/ 256628 w 577850"/>
              <a:gd name="connsiteY91" fmla="*/ 475365 h 555625"/>
              <a:gd name="connsiteX92" fmla="*/ 256628 w 577850"/>
              <a:gd name="connsiteY92" fmla="*/ 437109 h 555625"/>
              <a:gd name="connsiteX93" fmla="*/ 172326 w 577850"/>
              <a:gd name="connsiteY93" fmla="*/ 437109 h 555625"/>
              <a:gd name="connsiteX94" fmla="*/ 164662 w 577850"/>
              <a:gd name="connsiteY94" fmla="*/ 429458 h 555625"/>
              <a:gd name="connsiteX95" fmla="*/ 172326 w 577850"/>
              <a:gd name="connsiteY95" fmla="*/ 421807 h 555625"/>
              <a:gd name="connsiteX96" fmla="*/ 260460 w 577850"/>
              <a:gd name="connsiteY96" fmla="*/ 421807 h 555625"/>
              <a:gd name="connsiteX97" fmla="*/ 352425 w 577850"/>
              <a:gd name="connsiteY97" fmla="*/ 329992 h 555625"/>
              <a:gd name="connsiteX98" fmla="*/ 352425 w 577850"/>
              <a:gd name="connsiteY98" fmla="*/ 77501 h 555625"/>
              <a:gd name="connsiteX99" fmla="*/ 344761 w 577850"/>
              <a:gd name="connsiteY99" fmla="*/ 69850 h 555625"/>
              <a:gd name="connsiteX100" fmla="*/ 279619 w 577850"/>
              <a:gd name="connsiteY100" fmla="*/ 69850 h 555625"/>
              <a:gd name="connsiteX101" fmla="*/ 279619 w 577850"/>
              <a:gd name="connsiteY101" fmla="*/ 104280 h 555625"/>
              <a:gd name="connsiteX102" fmla="*/ 271955 w 577850"/>
              <a:gd name="connsiteY102" fmla="*/ 111932 h 555625"/>
              <a:gd name="connsiteX103" fmla="*/ 99520 w 577850"/>
              <a:gd name="connsiteY103" fmla="*/ 111932 h 555625"/>
              <a:gd name="connsiteX104" fmla="*/ 91856 w 577850"/>
              <a:gd name="connsiteY104" fmla="*/ 104280 h 555625"/>
              <a:gd name="connsiteX105" fmla="*/ 91856 w 577850"/>
              <a:gd name="connsiteY105" fmla="*/ 69850 h 555625"/>
              <a:gd name="connsiteX106" fmla="*/ 26714 w 577850"/>
              <a:gd name="connsiteY106" fmla="*/ 69850 h 555625"/>
              <a:gd name="connsiteX107" fmla="*/ 183833 w 577850"/>
              <a:gd name="connsiteY107" fmla="*/ 15875 h 555625"/>
              <a:gd name="connsiteX108" fmla="*/ 157163 w 577850"/>
              <a:gd name="connsiteY108" fmla="*/ 34925 h 555625"/>
              <a:gd name="connsiteX109" fmla="*/ 214313 w 577850"/>
              <a:gd name="connsiteY109" fmla="*/ 34925 h 555625"/>
              <a:gd name="connsiteX110" fmla="*/ 183833 w 577850"/>
              <a:gd name="connsiteY110" fmla="*/ 15875 h 555625"/>
              <a:gd name="connsiteX111" fmla="*/ 183688 w 577850"/>
              <a:gd name="connsiteY111" fmla="*/ 0 h 555625"/>
              <a:gd name="connsiteX112" fmla="*/ 229610 w 577850"/>
              <a:gd name="connsiteY112" fmla="*/ 34487 h 555625"/>
              <a:gd name="connsiteX113" fmla="*/ 271705 w 577850"/>
              <a:gd name="connsiteY113" fmla="*/ 34487 h 555625"/>
              <a:gd name="connsiteX114" fmla="*/ 279358 w 577850"/>
              <a:gd name="connsiteY114" fmla="*/ 42151 h 555625"/>
              <a:gd name="connsiteX115" fmla="*/ 279358 w 577850"/>
              <a:gd name="connsiteY115" fmla="*/ 49815 h 555625"/>
              <a:gd name="connsiteX116" fmla="*/ 363548 w 577850"/>
              <a:gd name="connsiteY116" fmla="*/ 49815 h 555625"/>
              <a:gd name="connsiteX117" fmla="*/ 371202 w 577850"/>
              <a:gd name="connsiteY117" fmla="*/ 57478 h 555625"/>
              <a:gd name="connsiteX118" fmla="*/ 371202 w 577850"/>
              <a:gd name="connsiteY118" fmla="*/ 314216 h 555625"/>
              <a:gd name="connsiteX119" fmla="*/ 489833 w 577850"/>
              <a:gd name="connsiteY119" fmla="*/ 191595 h 555625"/>
              <a:gd name="connsiteX120" fmla="*/ 501314 w 577850"/>
              <a:gd name="connsiteY120" fmla="*/ 191595 h 555625"/>
              <a:gd name="connsiteX121" fmla="*/ 574023 w 577850"/>
              <a:gd name="connsiteY121" fmla="*/ 264401 h 555625"/>
              <a:gd name="connsiteX122" fmla="*/ 577850 w 577850"/>
              <a:gd name="connsiteY122" fmla="*/ 272065 h 555625"/>
              <a:gd name="connsiteX123" fmla="*/ 574023 w 577850"/>
              <a:gd name="connsiteY123" fmla="*/ 275897 h 555625"/>
              <a:gd name="connsiteX124" fmla="*/ 371202 w 577850"/>
              <a:gd name="connsiteY124" fmla="*/ 478987 h 555625"/>
              <a:gd name="connsiteX125" fmla="*/ 371202 w 577850"/>
              <a:gd name="connsiteY125" fmla="*/ 547961 h 555625"/>
              <a:gd name="connsiteX126" fmla="*/ 363548 w 577850"/>
              <a:gd name="connsiteY126" fmla="*/ 555625 h 555625"/>
              <a:gd name="connsiteX127" fmla="*/ 7653 w 577850"/>
              <a:gd name="connsiteY127" fmla="*/ 555625 h 555625"/>
              <a:gd name="connsiteX128" fmla="*/ 0 w 577850"/>
              <a:gd name="connsiteY128" fmla="*/ 547961 h 555625"/>
              <a:gd name="connsiteX129" fmla="*/ 0 w 577850"/>
              <a:gd name="connsiteY129" fmla="*/ 57478 h 555625"/>
              <a:gd name="connsiteX130" fmla="*/ 7653 w 577850"/>
              <a:gd name="connsiteY130" fmla="*/ 49815 h 555625"/>
              <a:gd name="connsiteX131" fmla="*/ 91843 w 577850"/>
              <a:gd name="connsiteY131" fmla="*/ 49815 h 555625"/>
              <a:gd name="connsiteX132" fmla="*/ 91843 w 577850"/>
              <a:gd name="connsiteY132" fmla="*/ 42151 h 555625"/>
              <a:gd name="connsiteX133" fmla="*/ 99497 w 577850"/>
              <a:gd name="connsiteY133" fmla="*/ 34487 h 555625"/>
              <a:gd name="connsiteX134" fmla="*/ 141592 w 577850"/>
              <a:gd name="connsiteY134" fmla="*/ 34487 h 555625"/>
              <a:gd name="connsiteX135" fmla="*/ 183688 w 577850"/>
              <a:gd name="connsiteY135" fmla="*/ 0 h 555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</a:cxnLst>
            <a:rect l="l" t="t" r="r" b="b"/>
            <a:pathLst>
              <a:path w="577850" h="555625">
                <a:moveTo>
                  <a:pt x="271463" y="449263"/>
                </a:moveTo>
                <a:lnTo>
                  <a:pt x="271463" y="471488"/>
                </a:lnTo>
                <a:lnTo>
                  <a:pt x="295276" y="498476"/>
                </a:lnTo>
                <a:lnTo>
                  <a:pt x="317501" y="498476"/>
                </a:lnTo>
                <a:close/>
                <a:moveTo>
                  <a:pt x="76200" y="406400"/>
                </a:moveTo>
                <a:lnTo>
                  <a:pt x="76200" y="457200"/>
                </a:lnTo>
                <a:lnTo>
                  <a:pt x="127000" y="457200"/>
                </a:lnTo>
                <a:lnTo>
                  <a:pt x="127000" y="406400"/>
                </a:lnTo>
                <a:close/>
                <a:moveTo>
                  <a:pt x="69472" y="392113"/>
                </a:moveTo>
                <a:cubicBezTo>
                  <a:pt x="69472" y="392113"/>
                  <a:pt x="69472" y="392113"/>
                  <a:pt x="133728" y="392113"/>
                </a:cubicBezTo>
                <a:cubicBezTo>
                  <a:pt x="137508" y="392113"/>
                  <a:pt x="141288" y="395893"/>
                  <a:pt x="141288" y="399673"/>
                </a:cubicBezTo>
                <a:cubicBezTo>
                  <a:pt x="141288" y="399673"/>
                  <a:pt x="141288" y="399673"/>
                  <a:pt x="141288" y="463929"/>
                </a:cubicBezTo>
                <a:cubicBezTo>
                  <a:pt x="141288" y="467708"/>
                  <a:pt x="137508" y="471488"/>
                  <a:pt x="133728" y="471488"/>
                </a:cubicBezTo>
                <a:cubicBezTo>
                  <a:pt x="133728" y="471488"/>
                  <a:pt x="133728" y="471488"/>
                  <a:pt x="69472" y="471488"/>
                </a:cubicBezTo>
                <a:cubicBezTo>
                  <a:pt x="65693" y="471488"/>
                  <a:pt x="65693" y="471488"/>
                  <a:pt x="61913" y="467708"/>
                </a:cubicBezTo>
                <a:cubicBezTo>
                  <a:pt x="61913" y="467708"/>
                  <a:pt x="61913" y="463929"/>
                  <a:pt x="61913" y="463929"/>
                </a:cubicBezTo>
                <a:cubicBezTo>
                  <a:pt x="61913" y="463929"/>
                  <a:pt x="61913" y="463929"/>
                  <a:pt x="61913" y="399673"/>
                </a:cubicBezTo>
                <a:cubicBezTo>
                  <a:pt x="61913" y="395893"/>
                  <a:pt x="65693" y="392113"/>
                  <a:pt x="69472" y="392113"/>
                </a:cubicBezTo>
                <a:close/>
                <a:moveTo>
                  <a:pt x="172704" y="314325"/>
                </a:moveTo>
                <a:cubicBezTo>
                  <a:pt x="172704" y="314325"/>
                  <a:pt x="172704" y="314325"/>
                  <a:pt x="301960" y="314325"/>
                </a:cubicBezTo>
                <a:cubicBezTo>
                  <a:pt x="305762" y="314325"/>
                  <a:pt x="309563" y="318294"/>
                  <a:pt x="309563" y="322263"/>
                </a:cubicBezTo>
                <a:cubicBezTo>
                  <a:pt x="309563" y="326231"/>
                  <a:pt x="305762" y="330200"/>
                  <a:pt x="301960" y="330200"/>
                </a:cubicBezTo>
                <a:cubicBezTo>
                  <a:pt x="301960" y="330200"/>
                  <a:pt x="301960" y="330200"/>
                  <a:pt x="172704" y="330200"/>
                </a:cubicBezTo>
                <a:cubicBezTo>
                  <a:pt x="168902" y="330200"/>
                  <a:pt x="165100" y="326231"/>
                  <a:pt x="165100" y="322263"/>
                </a:cubicBezTo>
                <a:cubicBezTo>
                  <a:pt x="165100" y="318294"/>
                  <a:pt x="168902" y="314325"/>
                  <a:pt x="172704" y="314325"/>
                </a:cubicBezTo>
                <a:close/>
                <a:moveTo>
                  <a:pt x="76200" y="295275"/>
                </a:moveTo>
                <a:lnTo>
                  <a:pt x="76200" y="346075"/>
                </a:lnTo>
                <a:lnTo>
                  <a:pt x="127000" y="346075"/>
                </a:lnTo>
                <a:lnTo>
                  <a:pt x="127000" y="295275"/>
                </a:lnTo>
                <a:close/>
                <a:moveTo>
                  <a:pt x="69472" y="279400"/>
                </a:moveTo>
                <a:cubicBezTo>
                  <a:pt x="69472" y="279400"/>
                  <a:pt x="69472" y="279400"/>
                  <a:pt x="133728" y="279400"/>
                </a:cubicBezTo>
                <a:cubicBezTo>
                  <a:pt x="137508" y="279400"/>
                  <a:pt x="141288" y="283256"/>
                  <a:pt x="141288" y="287111"/>
                </a:cubicBezTo>
                <a:cubicBezTo>
                  <a:pt x="141288" y="287111"/>
                  <a:pt x="141288" y="287111"/>
                  <a:pt x="141288" y="352652"/>
                </a:cubicBezTo>
                <a:cubicBezTo>
                  <a:pt x="141288" y="360363"/>
                  <a:pt x="137508" y="360363"/>
                  <a:pt x="133728" y="360363"/>
                </a:cubicBezTo>
                <a:cubicBezTo>
                  <a:pt x="133728" y="360363"/>
                  <a:pt x="133728" y="360363"/>
                  <a:pt x="69472" y="360363"/>
                </a:cubicBezTo>
                <a:cubicBezTo>
                  <a:pt x="65693" y="360363"/>
                  <a:pt x="65693" y="360363"/>
                  <a:pt x="61913" y="360363"/>
                </a:cubicBezTo>
                <a:cubicBezTo>
                  <a:pt x="61913" y="356508"/>
                  <a:pt x="61913" y="356508"/>
                  <a:pt x="61913" y="352652"/>
                </a:cubicBezTo>
                <a:cubicBezTo>
                  <a:pt x="61913" y="352652"/>
                  <a:pt x="61913" y="352652"/>
                  <a:pt x="61913" y="287111"/>
                </a:cubicBezTo>
                <a:cubicBezTo>
                  <a:pt x="61913" y="283256"/>
                  <a:pt x="65693" y="279400"/>
                  <a:pt x="69472" y="279400"/>
                </a:cubicBezTo>
                <a:close/>
                <a:moveTo>
                  <a:pt x="531814" y="246063"/>
                </a:moveTo>
                <a:lnTo>
                  <a:pt x="371476" y="406401"/>
                </a:lnTo>
                <a:lnTo>
                  <a:pt x="352426" y="425451"/>
                </a:lnTo>
                <a:lnTo>
                  <a:pt x="309563" y="468314"/>
                </a:lnTo>
                <a:lnTo>
                  <a:pt x="336551" y="495301"/>
                </a:lnTo>
                <a:lnTo>
                  <a:pt x="352426" y="476251"/>
                </a:lnTo>
                <a:lnTo>
                  <a:pt x="371476" y="460376"/>
                </a:lnTo>
                <a:lnTo>
                  <a:pt x="558801" y="273051"/>
                </a:lnTo>
                <a:close/>
                <a:moveTo>
                  <a:pt x="498476" y="207963"/>
                </a:moveTo>
                <a:lnTo>
                  <a:pt x="371476" y="333376"/>
                </a:lnTo>
                <a:lnTo>
                  <a:pt x="352426" y="352426"/>
                </a:lnTo>
                <a:lnTo>
                  <a:pt x="284163" y="422276"/>
                </a:lnTo>
                <a:lnTo>
                  <a:pt x="271463" y="433389"/>
                </a:lnTo>
                <a:lnTo>
                  <a:pt x="279401" y="438151"/>
                </a:lnTo>
                <a:lnTo>
                  <a:pt x="298451" y="457201"/>
                </a:lnTo>
                <a:lnTo>
                  <a:pt x="352426" y="403226"/>
                </a:lnTo>
                <a:lnTo>
                  <a:pt x="371476" y="387351"/>
                </a:lnTo>
                <a:lnTo>
                  <a:pt x="520701" y="233363"/>
                </a:lnTo>
                <a:close/>
                <a:moveTo>
                  <a:pt x="172704" y="203200"/>
                </a:moveTo>
                <a:cubicBezTo>
                  <a:pt x="172704" y="203200"/>
                  <a:pt x="172704" y="203200"/>
                  <a:pt x="301960" y="203200"/>
                </a:cubicBezTo>
                <a:cubicBezTo>
                  <a:pt x="305762" y="203200"/>
                  <a:pt x="309563" y="207169"/>
                  <a:pt x="309563" y="211138"/>
                </a:cubicBezTo>
                <a:cubicBezTo>
                  <a:pt x="309563" y="215106"/>
                  <a:pt x="305762" y="219075"/>
                  <a:pt x="301960" y="219075"/>
                </a:cubicBezTo>
                <a:cubicBezTo>
                  <a:pt x="301960" y="219075"/>
                  <a:pt x="301960" y="219075"/>
                  <a:pt x="172704" y="219075"/>
                </a:cubicBezTo>
                <a:cubicBezTo>
                  <a:pt x="168902" y="219075"/>
                  <a:pt x="165100" y="215106"/>
                  <a:pt x="165100" y="211138"/>
                </a:cubicBezTo>
                <a:cubicBezTo>
                  <a:pt x="165100" y="207169"/>
                  <a:pt x="168902" y="203200"/>
                  <a:pt x="172704" y="203200"/>
                </a:cubicBezTo>
                <a:close/>
                <a:moveTo>
                  <a:pt x="76200" y="184150"/>
                </a:moveTo>
                <a:lnTo>
                  <a:pt x="76200" y="238125"/>
                </a:lnTo>
                <a:lnTo>
                  <a:pt x="127000" y="238125"/>
                </a:lnTo>
                <a:lnTo>
                  <a:pt x="127000" y="184150"/>
                </a:lnTo>
                <a:close/>
                <a:moveTo>
                  <a:pt x="69472" y="173038"/>
                </a:moveTo>
                <a:cubicBezTo>
                  <a:pt x="69472" y="173038"/>
                  <a:pt x="69472" y="173038"/>
                  <a:pt x="133728" y="173038"/>
                </a:cubicBezTo>
                <a:cubicBezTo>
                  <a:pt x="137508" y="173038"/>
                  <a:pt x="141288" y="173038"/>
                  <a:pt x="141288" y="180749"/>
                </a:cubicBezTo>
                <a:cubicBezTo>
                  <a:pt x="141288" y="180749"/>
                  <a:pt x="141288" y="180749"/>
                  <a:pt x="141288" y="246290"/>
                </a:cubicBezTo>
                <a:cubicBezTo>
                  <a:pt x="141288" y="250146"/>
                  <a:pt x="137508" y="250146"/>
                  <a:pt x="133728" y="250146"/>
                </a:cubicBezTo>
                <a:cubicBezTo>
                  <a:pt x="133728" y="250146"/>
                  <a:pt x="133728" y="250146"/>
                  <a:pt x="69472" y="254001"/>
                </a:cubicBezTo>
                <a:cubicBezTo>
                  <a:pt x="65693" y="254001"/>
                  <a:pt x="65693" y="250146"/>
                  <a:pt x="61913" y="250146"/>
                </a:cubicBezTo>
                <a:cubicBezTo>
                  <a:pt x="61913" y="250146"/>
                  <a:pt x="61913" y="246290"/>
                  <a:pt x="61913" y="246290"/>
                </a:cubicBezTo>
                <a:cubicBezTo>
                  <a:pt x="61913" y="246290"/>
                  <a:pt x="61913" y="246290"/>
                  <a:pt x="61913" y="180749"/>
                </a:cubicBezTo>
                <a:cubicBezTo>
                  <a:pt x="61913" y="173038"/>
                  <a:pt x="65693" y="173038"/>
                  <a:pt x="69472" y="173038"/>
                </a:cubicBezTo>
                <a:close/>
                <a:moveTo>
                  <a:pt x="26714" y="69850"/>
                </a:moveTo>
                <a:cubicBezTo>
                  <a:pt x="19050" y="69850"/>
                  <a:pt x="19050" y="73675"/>
                  <a:pt x="19050" y="77501"/>
                </a:cubicBezTo>
                <a:cubicBezTo>
                  <a:pt x="19050" y="77501"/>
                  <a:pt x="19050" y="77501"/>
                  <a:pt x="19050" y="528924"/>
                </a:cubicBezTo>
                <a:cubicBezTo>
                  <a:pt x="19050" y="532750"/>
                  <a:pt x="19050" y="536575"/>
                  <a:pt x="26714" y="536575"/>
                </a:cubicBezTo>
                <a:cubicBezTo>
                  <a:pt x="26714" y="536575"/>
                  <a:pt x="26714" y="536575"/>
                  <a:pt x="344761" y="536575"/>
                </a:cubicBezTo>
                <a:cubicBezTo>
                  <a:pt x="352425" y="536575"/>
                  <a:pt x="352425" y="532750"/>
                  <a:pt x="352425" y="528924"/>
                </a:cubicBezTo>
                <a:lnTo>
                  <a:pt x="352425" y="498319"/>
                </a:lnTo>
                <a:cubicBezTo>
                  <a:pt x="352425" y="498319"/>
                  <a:pt x="352425" y="498319"/>
                  <a:pt x="340930" y="509796"/>
                </a:cubicBezTo>
                <a:cubicBezTo>
                  <a:pt x="340930" y="509796"/>
                  <a:pt x="340930" y="509796"/>
                  <a:pt x="337098" y="509796"/>
                </a:cubicBezTo>
                <a:cubicBezTo>
                  <a:pt x="337098" y="509796"/>
                  <a:pt x="337098" y="513621"/>
                  <a:pt x="337098" y="513621"/>
                </a:cubicBezTo>
                <a:cubicBezTo>
                  <a:pt x="337098" y="513621"/>
                  <a:pt x="337098" y="513621"/>
                  <a:pt x="294947" y="513621"/>
                </a:cubicBezTo>
                <a:cubicBezTo>
                  <a:pt x="294947" y="513621"/>
                  <a:pt x="294947" y="513621"/>
                  <a:pt x="264292" y="513621"/>
                </a:cubicBezTo>
                <a:cubicBezTo>
                  <a:pt x="260460" y="513621"/>
                  <a:pt x="256628" y="509796"/>
                  <a:pt x="256628" y="505970"/>
                </a:cubicBezTo>
                <a:cubicBezTo>
                  <a:pt x="256628" y="505970"/>
                  <a:pt x="256628" y="505970"/>
                  <a:pt x="256628" y="475365"/>
                </a:cubicBezTo>
                <a:cubicBezTo>
                  <a:pt x="256628" y="475365"/>
                  <a:pt x="256628" y="475365"/>
                  <a:pt x="256628" y="437109"/>
                </a:cubicBezTo>
                <a:cubicBezTo>
                  <a:pt x="256628" y="437109"/>
                  <a:pt x="256628" y="437109"/>
                  <a:pt x="172326" y="437109"/>
                </a:cubicBezTo>
                <a:cubicBezTo>
                  <a:pt x="168494" y="437109"/>
                  <a:pt x="164662" y="433284"/>
                  <a:pt x="164662" y="429458"/>
                </a:cubicBezTo>
                <a:cubicBezTo>
                  <a:pt x="164662" y="425632"/>
                  <a:pt x="168494" y="421807"/>
                  <a:pt x="172326" y="421807"/>
                </a:cubicBezTo>
                <a:cubicBezTo>
                  <a:pt x="172326" y="421807"/>
                  <a:pt x="172326" y="421807"/>
                  <a:pt x="260460" y="421807"/>
                </a:cubicBezTo>
                <a:cubicBezTo>
                  <a:pt x="260460" y="421807"/>
                  <a:pt x="260460" y="421807"/>
                  <a:pt x="352425" y="329992"/>
                </a:cubicBezTo>
                <a:cubicBezTo>
                  <a:pt x="352425" y="329992"/>
                  <a:pt x="352425" y="329992"/>
                  <a:pt x="352425" y="77501"/>
                </a:cubicBezTo>
                <a:cubicBezTo>
                  <a:pt x="352425" y="73675"/>
                  <a:pt x="352425" y="69850"/>
                  <a:pt x="344761" y="69850"/>
                </a:cubicBezTo>
                <a:cubicBezTo>
                  <a:pt x="344761" y="69850"/>
                  <a:pt x="344761" y="69850"/>
                  <a:pt x="279619" y="69850"/>
                </a:cubicBezTo>
                <a:cubicBezTo>
                  <a:pt x="279619" y="69850"/>
                  <a:pt x="279619" y="69850"/>
                  <a:pt x="279619" y="104280"/>
                </a:cubicBezTo>
                <a:cubicBezTo>
                  <a:pt x="279619" y="108106"/>
                  <a:pt x="275787" y="111932"/>
                  <a:pt x="271955" y="111932"/>
                </a:cubicBezTo>
                <a:cubicBezTo>
                  <a:pt x="271955" y="111932"/>
                  <a:pt x="271955" y="111932"/>
                  <a:pt x="99520" y="111932"/>
                </a:cubicBezTo>
                <a:cubicBezTo>
                  <a:pt x="95688" y="111932"/>
                  <a:pt x="91856" y="108106"/>
                  <a:pt x="91856" y="104280"/>
                </a:cubicBezTo>
                <a:cubicBezTo>
                  <a:pt x="91856" y="104280"/>
                  <a:pt x="91856" y="104280"/>
                  <a:pt x="91856" y="69850"/>
                </a:cubicBezTo>
                <a:cubicBezTo>
                  <a:pt x="91856" y="69850"/>
                  <a:pt x="91856" y="69850"/>
                  <a:pt x="26714" y="69850"/>
                </a:cubicBezTo>
                <a:close/>
                <a:moveTo>
                  <a:pt x="183833" y="15875"/>
                </a:moveTo>
                <a:cubicBezTo>
                  <a:pt x="172403" y="15875"/>
                  <a:pt x="160973" y="23495"/>
                  <a:pt x="157163" y="34925"/>
                </a:cubicBezTo>
                <a:cubicBezTo>
                  <a:pt x="157163" y="34925"/>
                  <a:pt x="157163" y="34925"/>
                  <a:pt x="214313" y="34925"/>
                </a:cubicBezTo>
                <a:cubicBezTo>
                  <a:pt x="210503" y="23495"/>
                  <a:pt x="199073" y="15875"/>
                  <a:pt x="183833" y="15875"/>
                </a:cubicBezTo>
                <a:close/>
                <a:moveTo>
                  <a:pt x="183688" y="0"/>
                </a:moveTo>
                <a:cubicBezTo>
                  <a:pt x="206649" y="0"/>
                  <a:pt x="225783" y="15327"/>
                  <a:pt x="229610" y="34487"/>
                </a:cubicBezTo>
                <a:cubicBezTo>
                  <a:pt x="229610" y="34487"/>
                  <a:pt x="229610" y="34487"/>
                  <a:pt x="271705" y="34487"/>
                </a:cubicBezTo>
                <a:cubicBezTo>
                  <a:pt x="275531" y="34487"/>
                  <a:pt x="279358" y="38319"/>
                  <a:pt x="279358" y="42151"/>
                </a:cubicBezTo>
                <a:cubicBezTo>
                  <a:pt x="279358" y="42151"/>
                  <a:pt x="279358" y="42151"/>
                  <a:pt x="279358" y="49815"/>
                </a:cubicBezTo>
                <a:cubicBezTo>
                  <a:pt x="279358" y="49815"/>
                  <a:pt x="279358" y="49815"/>
                  <a:pt x="363548" y="49815"/>
                </a:cubicBezTo>
                <a:cubicBezTo>
                  <a:pt x="367375" y="49815"/>
                  <a:pt x="371202" y="53646"/>
                  <a:pt x="371202" y="57478"/>
                </a:cubicBezTo>
                <a:cubicBezTo>
                  <a:pt x="371202" y="57478"/>
                  <a:pt x="371202" y="57478"/>
                  <a:pt x="371202" y="314216"/>
                </a:cubicBezTo>
                <a:cubicBezTo>
                  <a:pt x="371202" y="314216"/>
                  <a:pt x="371202" y="314216"/>
                  <a:pt x="489833" y="191595"/>
                </a:cubicBezTo>
                <a:cubicBezTo>
                  <a:pt x="493660" y="187763"/>
                  <a:pt x="497487" y="187763"/>
                  <a:pt x="501314" y="191595"/>
                </a:cubicBezTo>
                <a:cubicBezTo>
                  <a:pt x="501314" y="191595"/>
                  <a:pt x="501314" y="191595"/>
                  <a:pt x="574023" y="264401"/>
                </a:cubicBezTo>
                <a:cubicBezTo>
                  <a:pt x="574023" y="268233"/>
                  <a:pt x="577850" y="268233"/>
                  <a:pt x="577850" y="272065"/>
                </a:cubicBezTo>
                <a:cubicBezTo>
                  <a:pt x="577850" y="272065"/>
                  <a:pt x="574023" y="275897"/>
                  <a:pt x="574023" y="275897"/>
                </a:cubicBezTo>
                <a:cubicBezTo>
                  <a:pt x="574023" y="275897"/>
                  <a:pt x="574023" y="275897"/>
                  <a:pt x="371202" y="478987"/>
                </a:cubicBezTo>
                <a:cubicBezTo>
                  <a:pt x="371202" y="478987"/>
                  <a:pt x="371202" y="478987"/>
                  <a:pt x="371202" y="547961"/>
                </a:cubicBezTo>
                <a:cubicBezTo>
                  <a:pt x="371202" y="555625"/>
                  <a:pt x="367375" y="555625"/>
                  <a:pt x="363548" y="555625"/>
                </a:cubicBezTo>
                <a:cubicBezTo>
                  <a:pt x="363548" y="555625"/>
                  <a:pt x="363548" y="555625"/>
                  <a:pt x="7653" y="555625"/>
                </a:cubicBezTo>
                <a:cubicBezTo>
                  <a:pt x="3827" y="555625"/>
                  <a:pt x="0" y="555625"/>
                  <a:pt x="0" y="547961"/>
                </a:cubicBezTo>
                <a:cubicBezTo>
                  <a:pt x="0" y="547961"/>
                  <a:pt x="0" y="547961"/>
                  <a:pt x="0" y="57478"/>
                </a:cubicBezTo>
                <a:cubicBezTo>
                  <a:pt x="0" y="53646"/>
                  <a:pt x="3827" y="49815"/>
                  <a:pt x="7653" y="49815"/>
                </a:cubicBezTo>
                <a:cubicBezTo>
                  <a:pt x="7653" y="49815"/>
                  <a:pt x="7653" y="49815"/>
                  <a:pt x="91843" y="49815"/>
                </a:cubicBezTo>
                <a:cubicBezTo>
                  <a:pt x="91843" y="49815"/>
                  <a:pt x="91843" y="49815"/>
                  <a:pt x="91843" y="42151"/>
                </a:cubicBezTo>
                <a:cubicBezTo>
                  <a:pt x="91843" y="38319"/>
                  <a:pt x="95670" y="34487"/>
                  <a:pt x="99497" y="34487"/>
                </a:cubicBezTo>
                <a:cubicBezTo>
                  <a:pt x="99497" y="34487"/>
                  <a:pt x="99497" y="34487"/>
                  <a:pt x="141592" y="34487"/>
                </a:cubicBezTo>
                <a:cubicBezTo>
                  <a:pt x="145419" y="15327"/>
                  <a:pt x="164553" y="0"/>
                  <a:pt x="183688" y="0"/>
                </a:cubicBezTo>
                <a:close/>
              </a:path>
            </a:pathLst>
          </a:custGeom>
          <a:solidFill>
            <a:srgbClr val="00375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3" name="Isosceles Triangle 12"/>
          <p:cNvSpPr/>
          <p:nvPr/>
        </p:nvSpPr>
        <p:spPr>
          <a:xfrm rot="5400000">
            <a:off x="4479090" y="3657115"/>
            <a:ext cx="540540" cy="312918"/>
          </a:xfrm>
          <a:prstGeom prst="triangle">
            <a:avLst/>
          </a:prstGeom>
          <a:solidFill>
            <a:schemeClr val="bg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smtClean="0">
              <a:solidFill>
                <a:schemeClr val="tx1"/>
              </a:solidFill>
            </a:endParaRPr>
          </a:p>
        </p:txBody>
      </p:sp>
      <p:sp>
        <p:nvSpPr>
          <p:cNvPr id="15" name="Arrow illustrative down left"/>
          <p:cNvSpPr>
            <a:spLocks noChangeAspect="1"/>
          </p:cNvSpPr>
          <p:nvPr>
            <p:custDataLst>
              <p:tags r:id="rId3"/>
            </p:custDataLst>
          </p:nvPr>
        </p:nvSpPr>
        <p:spPr bwMode="auto">
          <a:xfrm rot="16200000">
            <a:off x="4318315" y="3509358"/>
            <a:ext cx="400842" cy="610744"/>
          </a:xfrm>
          <a:custGeom>
            <a:avLst/>
            <a:gdLst>
              <a:gd name="T0" fmla="*/ 376 w 382"/>
              <a:gd name="T1" fmla="*/ 387 h 583"/>
              <a:gd name="T2" fmla="*/ 351 w 382"/>
              <a:gd name="T3" fmla="*/ 387 h 583"/>
              <a:gd name="T4" fmla="*/ 209 w 382"/>
              <a:gd name="T5" fmla="*/ 526 h 583"/>
              <a:gd name="T6" fmla="*/ 209 w 382"/>
              <a:gd name="T7" fmla="*/ 17 h 583"/>
              <a:gd name="T8" fmla="*/ 191 w 382"/>
              <a:gd name="T9" fmla="*/ 0 h 583"/>
              <a:gd name="T10" fmla="*/ 174 w 382"/>
              <a:gd name="T11" fmla="*/ 17 h 583"/>
              <a:gd name="T12" fmla="*/ 174 w 382"/>
              <a:gd name="T13" fmla="*/ 526 h 583"/>
              <a:gd name="T14" fmla="*/ 31 w 382"/>
              <a:gd name="T15" fmla="*/ 387 h 583"/>
              <a:gd name="T16" fmla="*/ 7 w 382"/>
              <a:gd name="T17" fmla="*/ 387 h 583"/>
              <a:gd name="T18" fmla="*/ 7 w 382"/>
              <a:gd name="T19" fmla="*/ 410 h 583"/>
              <a:gd name="T20" fmla="*/ 179 w 382"/>
              <a:gd name="T21" fmla="*/ 578 h 583"/>
              <a:gd name="T22" fmla="*/ 185 w 382"/>
              <a:gd name="T23" fmla="*/ 582 h 583"/>
              <a:gd name="T24" fmla="*/ 191 w 382"/>
              <a:gd name="T25" fmla="*/ 583 h 583"/>
              <a:gd name="T26" fmla="*/ 198 w 382"/>
              <a:gd name="T27" fmla="*/ 582 h 583"/>
              <a:gd name="T28" fmla="*/ 203 w 382"/>
              <a:gd name="T29" fmla="*/ 578 h 583"/>
              <a:gd name="T30" fmla="*/ 204 w 382"/>
              <a:gd name="T31" fmla="*/ 578 h 583"/>
              <a:gd name="T32" fmla="*/ 376 w 382"/>
              <a:gd name="T33" fmla="*/ 410 h 583"/>
              <a:gd name="T34" fmla="*/ 376 w 382"/>
              <a:gd name="T35" fmla="*/ 387 h 5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82" h="583">
                <a:moveTo>
                  <a:pt x="376" y="387"/>
                </a:moveTo>
                <a:cubicBezTo>
                  <a:pt x="369" y="380"/>
                  <a:pt x="358" y="380"/>
                  <a:pt x="351" y="387"/>
                </a:cubicBezTo>
                <a:cubicBezTo>
                  <a:pt x="209" y="526"/>
                  <a:pt x="209" y="526"/>
                  <a:pt x="209" y="526"/>
                </a:cubicBezTo>
                <a:cubicBezTo>
                  <a:pt x="209" y="17"/>
                  <a:pt x="209" y="17"/>
                  <a:pt x="209" y="17"/>
                </a:cubicBezTo>
                <a:cubicBezTo>
                  <a:pt x="209" y="8"/>
                  <a:pt x="201" y="0"/>
                  <a:pt x="191" y="0"/>
                </a:cubicBezTo>
                <a:cubicBezTo>
                  <a:pt x="182" y="0"/>
                  <a:pt x="174" y="8"/>
                  <a:pt x="174" y="17"/>
                </a:cubicBezTo>
                <a:cubicBezTo>
                  <a:pt x="174" y="526"/>
                  <a:pt x="174" y="526"/>
                  <a:pt x="174" y="526"/>
                </a:cubicBezTo>
                <a:cubicBezTo>
                  <a:pt x="31" y="387"/>
                  <a:pt x="31" y="387"/>
                  <a:pt x="31" y="387"/>
                </a:cubicBezTo>
                <a:cubicBezTo>
                  <a:pt x="25" y="380"/>
                  <a:pt x="14" y="380"/>
                  <a:pt x="7" y="387"/>
                </a:cubicBezTo>
                <a:cubicBezTo>
                  <a:pt x="0" y="393"/>
                  <a:pt x="0" y="404"/>
                  <a:pt x="7" y="410"/>
                </a:cubicBezTo>
                <a:cubicBezTo>
                  <a:pt x="179" y="578"/>
                  <a:pt x="179" y="578"/>
                  <a:pt x="179" y="578"/>
                </a:cubicBezTo>
                <a:cubicBezTo>
                  <a:pt x="181" y="580"/>
                  <a:pt x="183" y="581"/>
                  <a:pt x="185" y="582"/>
                </a:cubicBezTo>
                <a:cubicBezTo>
                  <a:pt x="187" y="583"/>
                  <a:pt x="189" y="583"/>
                  <a:pt x="191" y="583"/>
                </a:cubicBezTo>
                <a:cubicBezTo>
                  <a:pt x="194" y="583"/>
                  <a:pt x="196" y="583"/>
                  <a:pt x="198" y="582"/>
                </a:cubicBezTo>
                <a:cubicBezTo>
                  <a:pt x="200" y="581"/>
                  <a:pt x="202" y="580"/>
                  <a:pt x="203" y="578"/>
                </a:cubicBezTo>
                <a:cubicBezTo>
                  <a:pt x="203" y="578"/>
                  <a:pt x="204" y="578"/>
                  <a:pt x="204" y="578"/>
                </a:cubicBezTo>
                <a:cubicBezTo>
                  <a:pt x="376" y="410"/>
                  <a:pt x="376" y="410"/>
                  <a:pt x="376" y="410"/>
                </a:cubicBezTo>
                <a:cubicBezTo>
                  <a:pt x="382" y="404"/>
                  <a:pt x="382" y="393"/>
                  <a:pt x="376" y="387"/>
                </a:cubicBezTo>
              </a:path>
            </a:pathLst>
          </a:custGeom>
          <a:solidFill>
            <a:srgbClr val="00375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2941901" y="4728889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 fontAlgn="b">
              <a:buClr>
                <a:schemeClr val="accent1"/>
              </a:buClr>
              <a:defRPr/>
            </a:pPr>
            <a:r>
              <a:rPr lang="en-GB" b="1" dirty="0">
                <a:solidFill>
                  <a:srgbClr val="3A4344"/>
                </a:solidFill>
              </a:rPr>
              <a:t>Integrate product level</a:t>
            </a:r>
            <a:br>
              <a:rPr lang="en-GB" b="1" dirty="0">
                <a:solidFill>
                  <a:srgbClr val="3A4344"/>
                </a:solidFill>
              </a:rPr>
            </a:br>
            <a:r>
              <a:rPr lang="en-GB" b="1" dirty="0">
                <a:solidFill>
                  <a:srgbClr val="3A4344"/>
                </a:solidFill>
              </a:rPr>
              <a:t>customer scores to</a:t>
            </a:r>
            <a:br>
              <a:rPr lang="en-GB" b="1" dirty="0">
                <a:solidFill>
                  <a:srgbClr val="3A4344"/>
                </a:solidFill>
              </a:rPr>
            </a:br>
            <a:r>
              <a:rPr lang="en-GB" b="1" dirty="0">
                <a:solidFill>
                  <a:srgbClr val="3A4344"/>
                </a:solidFill>
              </a:rPr>
              <a:t>create prioritized leads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147103" y="1982595"/>
            <a:ext cx="1752600" cy="430887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Danske Text" panose="00000400000000000000" pitchFamily="2" charset="0"/>
              <a:buNone/>
            </a:pPr>
            <a:r>
              <a:rPr lang="en-US" sz="2800" b="1" dirty="0" smtClean="0">
                <a:solidFill>
                  <a:srgbClr val="FF3B3B"/>
                </a:solidFill>
              </a:rPr>
              <a:t>DEMO </a:t>
            </a:r>
            <a:endParaRPr lang="en-IN" sz="2800" b="1" kern="1200" dirty="0" err="1" smtClean="0">
              <a:solidFill>
                <a:srgbClr val="FF3B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781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 smtClean="0"/>
              <a:t>Churn Prevention </a:t>
            </a:r>
            <a:r>
              <a:rPr lang="en-GB" dirty="0" smtClean="0"/>
              <a:t>Scandinavia </a:t>
            </a:r>
            <a:r>
              <a:rPr lang="en-GB" dirty="0"/>
              <a:t>– </a:t>
            </a:r>
            <a:r>
              <a:rPr lang="en-GB" dirty="0" smtClean="0"/>
              <a:t>Technical Details</a:t>
            </a:r>
            <a:endParaRPr lang="en-GB" dirty="0"/>
          </a:p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ultiple data modeling &amp; mining techniques were evaluated and explored before the final models were selected for the campaign execution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9" name="Table with text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4598761"/>
              </p:ext>
            </p:extLst>
          </p:nvPr>
        </p:nvGraphicFramePr>
        <p:xfrm>
          <a:off x="5430000" y="2027817"/>
          <a:ext cx="1332000" cy="4320000"/>
        </p:xfrm>
        <a:graphic>
          <a:graphicData uri="http://schemas.openxmlformats.org/drawingml/2006/table">
            <a:tbl>
              <a:tblPr/>
              <a:tblGrid>
                <a:gridCol w="13320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ategory</a:t>
                      </a:r>
                      <a:endParaRPr lang="en-GB" sz="16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72000" marB="72000" anchor="ctr">
                    <a:lnL>
                      <a:noFill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B81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B81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endParaRPr lang="en-GB" sz="100" dirty="0"/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B81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52000">
                <a:tc>
                  <a:txBody>
                    <a:bodyPr/>
                    <a:lstStyle/>
                    <a:p>
                      <a:r>
                        <a:rPr lang="en-US" sz="1600" i="1" dirty="0" smtClean="0">
                          <a:solidFill>
                            <a:srgbClr val="003755"/>
                          </a:solidFill>
                          <a:latin typeface="+mn-lt"/>
                        </a:rPr>
                        <a:t>Statistical Modeling</a:t>
                      </a:r>
                      <a:endParaRPr lang="en-GB" sz="1600" i="1" dirty="0">
                        <a:solidFill>
                          <a:srgbClr val="003755"/>
                        </a:solidFill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7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endParaRPr lang="en-GB" sz="100" i="1" dirty="0">
                        <a:solidFill>
                          <a:srgbClr val="003755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52000">
                <a:tc>
                  <a:txBody>
                    <a:bodyPr/>
                    <a:lstStyle/>
                    <a:p>
                      <a:r>
                        <a:rPr lang="en-US" sz="1600" i="1" dirty="0" smtClean="0">
                          <a:solidFill>
                            <a:srgbClr val="003755"/>
                          </a:solidFill>
                          <a:latin typeface="+mn-lt"/>
                        </a:rPr>
                        <a:t>Machine</a:t>
                      </a:r>
                      <a:r>
                        <a:rPr lang="en-US" sz="1600" i="1" baseline="0" dirty="0" smtClean="0">
                          <a:solidFill>
                            <a:srgbClr val="003755"/>
                          </a:solidFill>
                          <a:latin typeface="+mn-lt"/>
                        </a:rPr>
                        <a:t> Learning</a:t>
                      </a:r>
                      <a:endParaRPr lang="en-GB" sz="1600" i="1" dirty="0">
                        <a:solidFill>
                          <a:srgbClr val="003755"/>
                        </a:solidFill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7FA"/>
                    </a:solidFill>
                  </a:tcPr>
                </a:tc>
              </a:tr>
              <a:tr h="72000">
                <a:tc>
                  <a:txBody>
                    <a:bodyPr/>
                    <a:lstStyle/>
                    <a:p>
                      <a:endParaRPr lang="en-GB" sz="100" i="1" dirty="0">
                        <a:solidFill>
                          <a:srgbClr val="003755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52000">
                <a:tc>
                  <a:txBody>
                    <a:bodyPr/>
                    <a:lstStyle/>
                    <a:p>
                      <a:r>
                        <a:rPr lang="en-US" sz="1600" i="1" dirty="0" smtClean="0">
                          <a:solidFill>
                            <a:srgbClr val="003755"/>
                          </a:solidFill>
                          <a:latin typeface="+mn-lt"/>
                        </a:rPr>
                        <a:t>Rare-Event</a:t>
                      </a:r>
                      <a:r>
                        <a:rPr lang="en-US" sz="1600" i="1" baseline="0" dirty="0" smtClean="0">
                          <a:solidFill>
                            <a:srgbClr val="003755"/>
                          </a:solidFill>
                          <a:latin typeface="+mn-lt"/>
                        </a:rPr>
                        <a:t> Modeling</a:t>
                      </a:r>
                      <a:endParaRPr lang="en-GB" sz="1600" i="1" dirty="0">
                        <a:solidFill>
                          <a:srgbClr val="003755"/>
                        </a:solidFill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7FA"/>
                    </a:solidFill>
                  </a:tcPr>
                </a:tc>
              </a:tr>
              <a:tr h="144000">
                <a:tc>
                  <a:txBody>
                    <a:bodyPr/>
                    <a:lstStyle/>
                    <a:p>
                      <a:endParaRPr lang="en-GB" sz="100" dirty="0"/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B81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5147103" y="1969895"/>
            <a:ext cx="1752600" cy="430887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Danske Text" panose="00000400000000000000" pitchFamily="2" charset="0"/>
              <a:buNone/>
            </a:pPr>
            <a:r>
              <a:rPr lang="en-US" sz="2800" b="1" dirty="0" smtClean="0">
                <a:solidFill>
                  <a:srgbClr val="FF3B3B"/>
                </a:solidFill>
              </a:rPr>
              <a:t>DEMO </a:t>
            </a:r>
            <a:endParaRPr lang="en-IN" sz="2800" b="1" kern="1200" dirty="0" err="1" smtClean="0">
              <a:solidFill>
                <a:srgbClr val="FF3B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322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 smtClean="0"/>
              <a:t>Churn Prevention </a:t>
            </a:r>
            <a:r>
              <a:rPr lang="en-GB" dirty="0" smtClean="0"/>
              <a:t>Scandinavia </a:t>
            </a:r>
            <a:r>
              <a:rPr lang="en-GB" dirty="0"/>
              <a:t>– Implementation</a:t>
            </a:r>
          </a:p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ose collaboration with </a:t>
            </a:r>
            <a:r>
              <a:rPr lang="en-GB" dirty="0"/>
              <a:t>the business and </a:t>
            </a:r>
            <a:r>
              <a:rPr lang="en-GB" dirty="0" smtClean="0"/>
              <a:t>frontline was required </a:t>
            </a:r>
            <a:r>
              <a:rPr lang="en-GB" dirty="0"/>
              <a:t>in the campaign </a:t>
            </a:r>
            <a:br>
              <a:rPr lang="en-GB" dirty="0"/>
            </a:br>
            <a:r>
              <a:rPr lang="en-GB" dirty="0"/>
              <a:t>design, execution and measurement proces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476500" y="2984500"/>
            <a:ext cx="7239000" cy="430887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Danske Text" panose="00000400000000000000" pitchFamily="2" charset="0"/>
              <a:buNone/>
            </a:pPr>
            <a:r>
              <a:rPr lang="en-US" sz="1400" dirty="0" smtClean="0"/>
              <a:t>Details on multiple stages of campaign where and how we provided our support for successful implementation of the model</a:t>
            </a:r>
            <a:endParaRPr lang="en-IN" sz="1400" kern="1200" dirty="0" err="1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147103" y="1982595"/>
            <a:ext cx="1752600" cy="430887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Danske Text" panose="00000400000000000000" pitchFamily="2" charset="0"/>
              <a:buNone/>
            </a:pPr>
            <a:r>
              <a:rPr lang="en-US" sz="2800" b="1" dirty="0" smtClean="0">
                <a:solidFill>
                  <a:srgbClr val="FF3B3B"/>
                </a:solidFill>
              </a:rPr>
              <a:t>DEMO </a:t>
            </a:r>
            <a:endParaRPr lang="en-IN" sz="2800" b="1" kern="1200" dirty="0" err="1" smtClean="0">
              <a:solidFill>
                <a:srgbClr val="FF3B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9617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416743" y="2344306"/>
            <a:ext cx="1800000" cy="3005487"/>
          </a:xfrm>
          <a:prstGeom prst="rect">
            <a:avLst/>
          </a:prstGeom>
          <a:solidFill>
            <a:srgbClr val="FCECEA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1404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003755"/>
              </a:buClr>
            </a:pPr>
            <a:r>
              <a:rPr lang="en-GB" sz="1500" b="1" dirty="0" smtClean="0">
                <a:solidFill>
                  <a:schemeClr val="tx2"/>
                </a:solidFill>
              </a:rPr>
              <a:t>Customer profile</a:t>
            </a:r>
          </a:p>
        </p:txBody>
      </p:sp>
      <p:graphicFrame>
        <p:nvGraphicFramePr>
          <p:cNvPr id="64" name="Object 6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/>
          <p:cNvSpPr/>
          <p:nvPr/>
        </p:nvSpPr>
        <p:spPr>
          <a:xfrm>
            <a:off x="5575618" y="1799999"/>
            <a:ext cx="1040765" cy="964319"/>
          </a:xfrm>
          <a:prstGeom prst="rect">
            <a:avLst/>
          </a:prstGeom>
          <a:noFill/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smtClean="0">
              <a:solidFill>
                <a:schemeClr val="tx1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 smtClean="0"/>
              <a:t>Churn Prevention </a:t>
            </a:r>
            <a:r>
              <a:rPr lang="en-GB" dirty="0" smtClean="0"/>
              <a:t>Scandinavia </a:t>
            </a:r>
            <a:r>
              <a:rPr lang="en-GB" dirty="0"/>
              <a:t>– Implementation</a:t>
            </a:r>
          </a:p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 addition, useful “conversation starters” were developed to help frontline create the right messaging strategy for the campaign </a:t>
            </a:r>
            <a:endParaRPr lang="en-GB" dirty="0"/>
          </a:p>
        </p:txBody>
      </p:sp>
      <p:sp>
        <p:nvSpPr>
          <p:cNvPr id="29" name="Rectangle 28"/>
          <p:cNvSpPr/>
          <p:nvPr/>
        </p:nvSpPr>
        <p:spPr>
          <a:xfrm>
            <a:off x="2278765" y="2344306"/>
            <a:ext cx="1800000" cy="3005487"/>
          </a:xfrm>
          <a:prstGeom prst="rect">
            <a:avLst/>
          </a:prstGeom>
          <a:solidFill>
            <a:srgbClr val="D6EDE7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1404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977900">
              <a:spcBef>
                <a:spcPct val="0"/>
              </a:spcBef>
            </a:pPr>
            <a:r>
              <a:rPr lang="en-GB" sz="1500" b="1" dirty="0" smtClean="0">
                <a:solidFill>
                  <a:schemeClr val="tx2"/>
                </a:solidFill>
              </a:rPr>
              <a:t>Special</a:t>
            </a:r>
            <a:br>
              <a:rPr lang="en-GB" sz="1500" b="1" dirty="0" smtClean="0">
                <a:solidFill>
                  <a:schemeClr val="tx2"/>
                </a:solidFill>
              </a:rPr>
            </a:br>
            <a:r>
              <a:rPr lang="en-GB" sz="1500" b="1" dirty="0" smtClean="0">
                <a:solidFill>
                  <a:schemeClr val="tx2"/>
                </a:solidFill>
              </a:rPr>
              <a:t>group flag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4115535" y="2344306"/>
            <a:ext cx="1800000" cy="3005487"/>
          </a:xfrm>
          <a:prstGeom prst="rect">
            <a:avLst/>
          </a:prstGeom>
          <a:solidFill>
            <a:srgbClr val="E0E2E3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1404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977900">
              <a:spcBef>
                <a:spcPct val="0"/>
              </a:spcBef>
            </a:pPr>
            <a:r>
              <a:rPr lang="en-GB" sz="1500" b="1" dirty="0" smtClean="0">
                <a:solidFill>
                  <a:schemeClr val="tx2"/>
                </a:solidFill>
              </a:rPr>
              <a:t>Value</a:t>
            </a:r>
            <a:br>
              <a:rPr lang="en-GB" sz="1500" b="1" dirty="0" smtClean="0">
                <a:solidFill>
                  <a:schemeClr val="tx2"/>
                </a:solidFill>
              </a:rPr>
            </a:br>
            <a:r>
              <a:rPr lang="en-GB" sz="1500" b="1" dirty="0" smtClean="0">
                <a:solidFill>
                  <a:schemeClr val="tx2"/>
                </a:solidFill>
              </a:rPr>
              <a:t>reduction score</a:t>
            </a:r>
          </a:p>
        </p:txBody>
      </p:sp>
      <p:sp>
        <p:nvSpPr>
          <p:cNvPr id="33" name="Rectangle 32"/>
          <p:cNvSpPr/>
          <p:nvPr/>
        </p:nvSpPr>
        <p:spPr>
          <a:xfrm>
            <a:off x="5987399" y="2344306"/>
            <a:ext cx="1800000" cy="3005487"/>
          </a:xfrm>
          <a:prstGeom prst="rect">
            <a:avLst/>
          </a:prstGeom>
          <a:solidFill>
            <a:srgbClr val="EFF6F9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1404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977900">
              <a:spcBef>
                <a:spcPct val="0"/>
              </a:spcBef>
            </a:pPr>
            <a:r>
              <a:rPr lang="en-GB" sz="1500" b="1" dirty="0" smtClean="0">
                <a:solidFill>
                  <a:schemeClr val="tx2"/>
                </a:solidFill>
              </a:rPr>
              <a:t>Next best product recommendation</a:t>
            </a:r>
          </a:p>
        </p:txBody>
      </p:sp>
      <p:sp>
        <p:nvSpPr>
          <p:cNvPr id="34" name="Rectangle 33"/>
          <p:cNvSpPr/>
          <p:nvPr/>
        </p:nvSpPr>
        <p:spPr>
          <a:xfrm>
            <a:off x="7805784" y="2344306"/>
            <a:ext cx="1800000" cy="3005487"/>
          </a:xfrm>
          <a:prstGeom prst="rect">
            <a:avLst/>
          </a:prstGeom>
          <a:solidFill>
            <a:srgbClr val="FFF9E2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1404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977900">
              <a:spcBef>
                <a:spcPct val="0"/>
              </a:spcBef>
            </a:pPr>
            <a:r>
              <a:rPr lang="en-GB" sz="1500" b="1" dirty="0" smtClean="0">
                <a:solidFill>
                  <a:schemeClr val="tx2"/>
                </a:solidFill>
              </a:rPr>
              <a:t>Risk indicators</a:t>
            </a:r>
          </a:p>
        </p:txBody>
      </p:sp>
      <p:sp>
        <p:nvSpPr>
          <p:cNvPr id="35" name="Rectangle 34"/>
          <p:cNvSpPr/>
          <p:nvPr/>
        </p:nvSpPr>
        <p:spPr>
          <a:xfrm>
            <a:off x="9624169" y="2344306"/>
            <a:ext cx="1800000" cy="3005487"/>
          </a:xfrm>
          <a:prstGeom prst="rect">
            <a:avLst/>
          </a:prstGeom>
          <a:solidFill>
            <a:srgbClr val="D4E1EA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1404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977900">
              <a:spcBef>
                <a:spcPct val="0"/>
              </a:spcBef>
            </a:pPr>
            <a:r>
              <a:rPr lang="en-GB" sz="1500" b="1" dirty="0" smtClean="0">
                <a:solidFill>
                  <a:schemeClr val="tx2"/>
                </a:solidFill>
              </a:rPr>
              <a:t>Business activity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32198" y="2044700"/>
            <a:ext cx="11124802" cy="215444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Danske Text" panose="00000400000000000000" pitchFamily="2" charset="0"/>
              <a:buNone/>
            </a:pPr>
            <a:r>
              <a:rPr lang="en-US" sz="1400" dirty="0" smtClean="0"/>
              <a:t>Details of the structure of conversation starter</a:t>
            </a:r>
            <a:endParaRPr lang="en-IN" sz="1400" kern="1200" dirty="0" err="1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147103" y="1982595"/>
            <a:ext cx="1752600" cy="430887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Danske Text" panose="00000400000000000000" pitchFamily="2" charset="0"/>
              <a:buNone/>
            </a:pPr>
            <a:r>
              <a:rPr lang="en-US" sz="2800" b="1" dirty="0" smtClean="0">
                <a:solidFill>
                  <a:srgbClr val="FF3B3B"/>
                </a:solidFill>
              </a:rPr>
              <a:t>DEMO </a:t>
            </a:r>
            <a:endParaRPr lang="en-IN" sz="2800" b="1" kern="1200" dirty="0" err="1" smtClean="0">
              <a:solidFill>
                <a:srgbClr val="FF3B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9961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US" dirty="0" smtClean="0"/>
              <a:t>Churn Prevention  Scandinavia  </a:t>
            </a:r>
            <a:r>
              <a:rPr lang="en-US" dirty="0"/>
              <a:t>– Pilot </a:t>
            </a:r>
            <a:r>
              <a:rPr lang="en-US" dirty="0" smtClean="0"/>
              <a:t>Campaign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ilot campaign was designed not just to prevent churn, but to also learn more about churn</a:t>
            </a:r>
            <a:endParaRPr lang="en-GB" dirty="0"/>
          </a:p>
        </p:txBody>
      </p:sp>
      <p:sp>
        <p:nvSpPr>
          <p:cNvPr id="4" name="TextBox 3"/>
          <p:cNvSpPr txBox="1"/>
          <p:nvPr/>
        </p:nvSpPr>
        <p:spPr>
          <a:xfrm>
            <a:off x="1263650" y="3321278"/>
            <a:ext cx="9664700" cy="215444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Danske Text" panose="00000400000000000000" pitchFamily="2" charset="0"/>
              <a:buNone/>
            </a:pPr>
            <a:r>
              <a: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tails of campaign design </a:t>
            </a:r>
            <a:endParaRPr lang="en-IN" sz="1400" kern="1200" dirty="0" err="1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147103" y="1982595"/>
            <a:ext cx="1752600" cy="430887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Danske Text" panose="00000400000000000000" pitchFamily="2" charset="0"/>
              <a:buNone/>
            </a:pPr>
            <a:r>
              <a:rPr lang="en-US" sz="2800" b="1" dirty="0" smtClean="0">
                <a:solidFill>
                  <a:srgbClr val="FF3B3B"/>
                </a:solidFill>
              </a:rPr>
              <a:t>DEMO </a:t>
            </a:r>
            <a:endParaRPr lang="en-IN" sz="2800" b="1" kern="1200" dirty="0" err="1" smtClean="0">
              <a:solidFill>
                <a:srgbClr val="FF3B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1263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US" dirty="0" smtClean="0"/>
              <a:t>Churn Prevention </a:t>
            </a:r>
            <a:r>
              <a:rPr lang="en-US" dirty="0"/>
              <a:t>s</a:t>
            </a:r>
            <a:r>
              <a:rPr lang="en-US" dirty="0" smtClean="0"/>
              <a:t>– </a:t>
            </a:r>
            <a:r>
              <a:rPr lang="en-US" dirty="0"/>
              <a:t>Learnings from Pilot and Survey</a:t>
            </a:r>
            <a:endParaRPr lang="en-GB" dirty="0"/>
          </a:p>
          <a:p>
            <a:endParaRPr lang="en-IN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ights from the pilot campaign and the survey will help in revamping the model, and the roll-out strategy for a full scale campaign</a:t>
            </a:r>
            <a:endParaRPr lang="en-IN" dirty="0"/>
          </a:p>
        </p:txBody>
      </p:sp>
      <p:sp>
        <p:nvSpPr>
          <p:cNvPr id="4" name="Down Arrow 3"/>
          <p:cNvSpPr/>
          <p:nvPr/>
        </p:nvSpPr>
        <p:spPr>
          <a:xfrm rot="10800000" flipV="1">
            <a:off x="4350928" y="1800000"/>
            <a:ext cx="720000" cy="4320000"/>
          </a:xfrm>
          <a:prstGeom prst="downArrow">
            <a:avLst/>
          </a:prstGeom>
          <a:solidFill>
            <a:schemeClr val="accent5">
              <a:lumMod val="75000"/>
            </a:schemeClr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3755"/>
              </a:buClr>
            </a:pPr>
            <a:r>
              <a:rPr lang="en-US" sz="1600" dirty="0" smtClean="0">
                <a:solidFill>
                  <a:schemeClr val="bg1"/>
                </a:solidFill>
              </a:rPr>
              <a:t>Customer Target Selection</a:t>
            </a:r>
            <a:endParaRPr lang="en-GB" sz="1600" dirty="0" err="1" smtClean="0">
              <a:solidFill>
                <a:schemeClr val="bg1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4144812"/>
              </p:ext>
            </p:extLst>
          </p:nvPr>
        </p:nvGraphicFramePr>
        <p:xfrm>
          <a:off x="5832198" y="1800000"/>
          <a:ext cx="5940000" cy="4320000"/>
        </p:xfrm>
        <a:graphic>
          <a:graphicData uri="http://schemas.openxmlformats.org/drawingml/2006/table">
            <a:tbl>
              <a:tblPr/>
              <a:tblGrid>
                <a:gridCol w="5940000"/>
              </a:tblGrid>
              <a:tr h="4320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arnings from Pilot &amp; Surveys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888000">
                <a:tc>
                  <a:txBody>
                    <a:bodyPr/>
                    <a:lstStyle>
                      <a:lvl1pPr marL="180000" indent="-180000" algn="l" defTabSz="914400" rtl="0" eaLnBrk="1" latinLnBrk="0" hangingPunct="1">
                        <a:buClr>
                          <a:schemeClr val="accent1"/>
                        </a:buClr>
                        <a:buFont typeface="Danske Text" panose="00000400000000000000" pitchFamily="2" charset="0"/>
                        <a:buChar char="•"/>
                      </a:lvl1pPr>
                      <a:lvl2pPr marL="360000" indent="-180000" algn="l" defTabSz="914400" rtl="0" eaLnBrk="1" latinLnBrk="0" hangingPunct="1">
                        <a:buClr>
                          <a:srgbClr val="003755"/>
                        </a:buClr>
                        <a:buFont typeface="Arial" panose="020B0604020202020204" pitchFamily="34" charset="0"/>
                        <a:buChar char="‒"/>
                      </a:lvl2pPr>
                      <a:lvl3pPr marL="540000" indent="-180000" algn="l" defTabSz="914400" rtl="0" eaLnBrk="1" latinLnBrk="0" hangingPunct="1">
                        <a:buClr>
                          <a:srgbClr val="003755"/>
                        </a:buClr>
                        <a:buFont typeface="Danske Text" panose="00000400000000000000" pitchFamily="2" charset="0"/>
                        <a:buChar char="•"/>
                      </a:lvl3pPr>
                      <a:lvl4pPr marL="720000" indent="-180000" algn="l" defTabSz="914400" rtl="0" eaLnBrk="1" latinLnBrk="0" hangingPunct="1">
                        <a:buClr>
                          <a:srgbClr val="003755"/>
                        </a:buClr>
                        <a:buFont typeface="Arial" panose="020B0604020202020204" pitchFamily="34" charset="0"/>
                        <a:buChar char="–"/>
                      </a:lvl4pPr>
                      <a:lvl5pPr marL="900000" indent="-180000" algn="l" defTabSz="914400" rtl="0" eaLnBrk="1" latinLnBrk="0" hangingPunct="1">
                        <a:buClr>
                          <a:schemeClr val="accent1"/>
                        </a:buClr>
                        <a:buFont typeface="Danske Text" panose="00000400000000000000" pitchFamily="2" charset="0"/>
                        <a:buChar char="•"/>
                      </a:lvl5pPr>
                      <a:lvl6pPr marL="180000" indent="-180000" algn="l" defTabSz="914400" rtl="0" eaLnBrk="1" latinLnBrk="0" hangingPunct="1">
                        <a:buClr>
                          <a:srgbClr val="003755"/>
                        </a:buClr>
                        <a:buFont typeface="+mj-lt"/>
                        <a:buAutoNum type="arabicPeriod"/>
                      </a:lvl6pPr>
                      <a:lvl7pPr marL="360000" indent="-180000" algn="l" defTabSz="914400" rtl="0" eaLnBrk="1" latinLnBrk="0" hangingPunct="1">
                        <a:buClr>
                          <a:srgbClr val="003755"/>
                        </a:buClr>
                        <a:buFont typeface="+mj-lt"/>
                        <a:buAutoNum type="alphaLcPeriod"/>
                      </a:lvl7pPr>
                      <a:lvl8pPr marL="540000" indent="-180000" algn="l" defTabSz="914400" rtl="0" eaLnBrk="1" latinLnBrk="0" hangingPunct="1">
                        <a:buClr>
                          <a:srgbClr val="003755"/>
                        </a:buClr>
                        <a:buFont typeface="+mj-lt"/>
                        <a:buAutoNum type="romanLcPeriod"/>
                      </a:lvl8pPr>
                      <a:lvl9pPr marL="1620000" indent="-180000" algn="l" defTabSz="914400" rtl="0" eaLnBrk="1" latinLnBrk="0" hangingPunct="1"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285750" lvl="0" indent="-193675">
                        <a:spcBef>
                          <a:spcPts val="600"/>
                        </a:spcBef>
                        <a:buClr>
                          <a:srgbClr val="003755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400" dirty="0" smtClean="0"/>
                        <a:t>Identifying</a:t>
                      </a:r>
                      <a:r>
                        <a:rPr lang="en-US" sz="1400" baseline="0" dirty="0" smtClean="0"/>
                        <a:t> </a:t>
                      </a:r>
                      <a:r>
                        <a:rPr lang="en-US" sz="1400" baseline="0" dirty="0" err="1" smtClean="0"/>
                        <a:t>improvemets</a:t>
                      </a:r>
                      <a:r>
                        <a:rPr lang="en-US" sz="1400" baseline="0" dirty="0" smtClean="0"/>
                        <a:t> /modifications to be done</a:t>
                      </a:r>
                      <a:endParaRPr lang="en-US" sz="14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147103" y="1969895"/>
            <a:ext cx="1752600" cy="430887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Danske Text" panose="00000400000000000000" pitchFamily="2" charset="0"/>
              <a:buNone/>
            </a:pPr>
            <a:r>
              <a:rPr lang="en-US" sz="2800" b="1" dirty="0" smtClean="0">
                <a:solidFill>
                  <a:srgbClr val="FF3B3B"/>
                </a:solidFill>
              </a:rPr>
              <a:t>DEMO </a:t>
            </a:r>
            <a:endParaRPr lang="en-IN" sz="2800" b="1" kern="1200" dirty="0" err="1" smtClean="0">
              <a:solidFill>
                <a:srgbClr val="FF3B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6521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US" dirty="0" smtClean="0"/>
              <a:t>Churn Prevention </a:t>
            </a:r>
            <a:r>
              <a:rPr lang="en-US" dirty="0" smtClean="0"/>
              <a:t>Scandinavia – Phase 2</a:t>
            </a:r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urn prevention 2.0 has been developed and set up for testing after taking into account learnings from first version </a:t>
            </a:r>
            <a:endParaRPr lang="en-GB" dirty="0"/>
          </a:p>
        </p:txBody>
      </p:sp>
      <p:graphicFrame>
        <p:nvGraphicFramePr>
          <p:cNvPr id="15" name="Content Placeholder 14"/>
          <p:cNvGraphicFramePr>
            <a:graphicFrameLocks noGrp="1"/>
          </p:cNvGraphicFramePr>
          <p:nvPr>
            <p:ph sz="quarter" idx="72"/>
            <p:extLst>
              <p:ext uri="{D42A27DB-BD31-4B8C-83A1-F6EECF244321}">
                <p14:modId xmlns:p14="http://schemas.microsoft.com/office/powerpoint/2010/main" val="1812306605"/>
              </p:ext>
            </p:extLst>
          </p:nvPr>
        </p:nvGraphicFramePr>
        <p:xfrm>
          <a:off x="3180000" y="2151000"/>
          <a:ext cx="5832000" cy="2556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44000"/>
                <a:gridCol w="3888000"/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Improvement Area</a:t>
                      </a:r>
                      <a:endParaRPr lang="en-GB" sz="16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37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37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Improvements in 2.0</a:t>
                      </a:r>
                      <a:endParaRPr lang="en-GB" sz="16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37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37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</a:pPr>
                      <a:endParaRPr lang="en-GB" sz="100" dirty="0">
                        <a:latin typeface="+mn-lt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37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</a:pPr>
                      <a:endParaRPr lang="en-GB" sz="100" dirty="0">
                        <a:latin typeface="+mn-lt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37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8400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</a:pPr>
                      <a:r>
                        <a:rPr lang="en-US" sz="1600" i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Customer Base Selection</a:t>
                      </a:r>
                      <a:endParaRPr lang="en-GB" sz="1600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97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</a:pPr>
                      <a:endParaRPr lang="en-GB" sz="1400" dirty="0"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200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</a:pPr>
                      <a:endParaRPr lang="en-US" sz="100" i="0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</a:pPr>
                      <a:endParaRPr lang="en-US" sz="100" dirty="0" smtClean="0">
                        <a:latin typeface="+mn-lt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</a:pPr>
                      <a:r>
                        <a:rPr lang="en-US" sz="1600" i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Model Design</a:t>
                      </a:r>
                    </a:p>
                  </a:txBody>
                  <a:tcPr anchor="ctr">
                    <a:lnL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DBAC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</a:pPr>
                      <a:endParaRPr lang="en-US" sz="1400" dirty="0" smtClean="0"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200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</a:pPr>
                      <a:endParaRPr lang="en-GB" sz="100" i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</a:pPr>
                      <a:endParaRPr lang="en-GB" sz="100" dirty="0">
                        <a:latin typeface="+mn-lt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40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i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CRM Filtering</a:t>
                      </a:r>
                      <a:endParaRPr lang="en-GB" sz="1600" i="0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E676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</a:pPr>
                      <a:endParaRPr lang="en-GB" sz="1400" dirty="0"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</a:pPr>
                      <a:endParaRPr lang="en-GB" sz="100" dirty="0">
                        <a:latin typeface="+mn-lt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37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</a:pPr>
                      <a:endParaRPr lang="en-GB" sz="100" dirty="0">
                        <a:latin typeface="+mn-lt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A43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37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6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Box 5"/>
          <p:cNvSpPr txBox="1"/>
          <p:nvPr/>
        </p:nvSpPr>
        <p:spPr>
          <a:xfrm>
            <a:off x="5147103" y="1969895"/>
            <a:ext cx="1752600" cy="430887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Danske Text" panose="00000400000000000000" pitchFamily="2" charset="0"/>
              <a:buNone/>
            </a:pPr>
            <a:r>
              <a:rPr lang="en-US" sz="2800" b="1" dirty="0" smtClean="0">
                <a:solidFill>
                  <a:srgbClr val="FF3B3B"/>
                </a:solidFill>
              </a:rPr>
              <a:t>DEMO </a:t>
            </a:r>
            <a:endParaRPr lang="en-IN" sz="2800" b="1" kern="1200" dirty="0" err="1" smtClean="0">
              <a:solidFill>
                <a:srgbClr val="FF3B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364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MIO_CHANGETRACKING" val="true"/>
  <p:tag name="UNDO_REDO_REVISIO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013"/>
  <p:tag name="MIO_PRESI_FIRST_SLIDENUMBER" val="1"/>
  <p:tag name="MIO_FALLBACK_LAYOUT" val="6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30"/>
  <p:tag name="MIO_HDS" val="True"/>
  <p:tag name="MIO_SKIPVERSION" val="01.01.0001 00:00:00"/>
  <p:tag name="MIO_EKGUID" val="f300e69a-b0fb-4f7f-9550-8388b4ca68a6"/>
  <p:tag name="MIO_UPDATE" val="True"/>
  <p:tag name="MIO_VERSION" val="06.08.2018 19:05:08"/>
  <p:tag name="MIO_DBID" val="5D9FD29E-BEEC-40D7-BFBE-407D9085DE5F"/>
  <p:tag name="MIO_LASTDOWNLOADED" val="07.08.2018 11:50:40"/>
  <p:tag name="MIO_OBJECTNAME" val="Danske IT"/>
  <p:tag name="MIO_LASTEDITORNAME" val="Daniel J"/>
  <p:tag name="MIO_CDID" val="36049262-a2dc-48ca-9f47-69cada2ed73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b759b41-c36a-4bca-8778-708edee9bee0"/>
  <p:tag name="MIO_EKGUID" val="7d0b1ee9-b1fb-4c1b-ad1d-a0147c5d0d72"/>
  <p:tag name="MIO_UPDATE" val="True"/>
  <p:tag name="MIO_VERSION" val="14.11.2017 14:58:44"/>
  <p:tag name="MIO_DBID" val="5D9FD29E-BEEC-40D7-BFBE-407D9085DE5F"/>
  <p:tag name="MIO_LASTDOWNLOADED" val="07.08.2018 15:13:50"/>
  <p:tag name="MIO_OBJECTNAME" val="Checklist"/>
  <p:tag name="MIO_LASTEDITORNAME" val="Elisabeth Roma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f1df02d-efac-4866-968a-d42facb1a356"/>
  <p:tag name="MIO_EKGUID" val="2080b424-10d4-456d-b1b4-67de263f8cac"/>
  <p:tag name="MIO_UPDATE" val="True"/>
  <p:tag name="MIO_VERSION" val="14.11.2017 13:43:08"/>
  <p:tag name="MIO_DBID" val="5D9FD29E-BEEC-40D7-BFBE-407D9085DE5F"/>
  <p:tag name="MIO_LASTDOWNLOADED" val="07.08.2018 15:14:39"/>
  <p:tag name="MIO_OBJECTNAME" val="Overview meeting"/>
  <p:tag name="MIO_LASTEDITORNAME" val="Elisabeth Roma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bf7a43c-ccca-4112-ad7a-3164bb81a392"/>
  <p:tag name="MIO_EKGUID" val="2ab4a984-beb7-493e-8914-83be9bd5c427"/>
  <p:tag name="MIO_UPDATE" val="True"/>
  <p:tag name="MIO_VERSION" val="04.05.2018 13:03:29"/>
  <p:tag name="MIO_DBID" val="5D9FD29E-BEEC-40D7-BFBE-407D9085DE5F"/>
  <p:tag name="MIO_LASTDOWNLOADED" val="07.08.2018 15:41:38"/>
  <p:tag name="MIO_OBJECTNAME" val="Settings"/>
  <p:tag name="MIO_LASTEDITORNAME" val="Sharath Nai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6cf7fa5-4a61-452e-a68f-c485c0234f10"/>
  <p:tag name="MIO_EKGUID" val="b42b10a2-033b-435c-af81-bbeea3f5f9a3"/>
  <p:tag name="MIO_UPDATE" val="True"/>
  <p:tag name="MIO_VERSION" val="04.05.2018 13:12:18"/>
  <p:tag name="MIO_DBID" val="5D9FD29E-BEEC-40D7-BFBE-407D9085DE5F"/>
  <p:tag name="MIO_LASTDOWNLOADED" val="31.07.2018 11:03:49"/>
  <p:tag name="MIO_OBJECTNAME" val="Test"/>
  <p:tag name="MIO_LASTEDITORNAME" val="Sharath Nai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a04c82f-d537-431e-9f7f-df282ca0be49"/>
  <p:tag name="MIO_EKGUID" val="2cfc52e7-0698-44cc-ba88-dd871b0d1e11"/>
  <p:tag name="MIO_UPDATE" val="True"/>
  <p:tag name="MIO_VERSION" val="14.11.2017 14:18:51"/>
  <p:tag name="MIO_DBID" val="5D9FD29E-BEEC-40D7-BFBE-407D9085DE5F"/>
  <p:tag name="MIO_LASTDOWNLOADED" val="07.08.2018 15:41:03"/>
  <p:tag name="MIO_OBJECTNAME" val="Arrow illustrative down left"/>
  <p:tag name="MIO_LASTEDITORNAME" val="Elisabeth Roma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094ae80-ac72-4f86-8f25-d73cd7d0c5b3"/>
  <p:tag name="EMPOWERBULLETV2" val="empowerBulletV2"/>
  <p:tag name="MIO_EKGUID" val="5067d452-3b52-4e4e-b662-9e4f95e1426e"/>
  <p:tag name="MIO_UPDATE" val="True"/>
  <p:tag name="MIO_VERSION" val="23.07.2018 14:07:42"/>
  <p:tag name="MIO_DBID" val="5D9FD29E-BEEC-40D7-BFBE-407D9085DE5F"/>
  <p:tag name="MIO_LASTDOWNLOADED" val="07.08.2018 15:20:20"/>
  <p:tag name="MIO_OBJECTNAME" val="Table with text"/>
  <p:tag name="MIO_LASTEDITORNAME" val="Daniel J"/>
</p:tagLst>
</file>

<file path=ppt/theme/theme1.xml><?xml version="1.0" encoding="utf-8"?>
<a:theme xmlns:a="http://schemas.openxmlformats.org/drawingml/2006/main" name="Widerscreen - Danske IT">
  <a:themeElements>
    <a:clrScheme name="Danske Bank">
      <a:dk1>
        <a:srgbClr val="000000"/>
      </a:dk1>
      <a:lt1>
        <a:sysClr val="window" lastClr="FFFFFF"/>
      </a:lt1>
      <a:dk2>
        <a:srgbClr val="003755"/>
      </a:dk2>
      <a:lt2>
        <a:srgbClr val="E7F1F7"/>
      </a:lt2>
      <a:accent1>
        <a:srgbClr val="003755"/>
      </a:accent1>
      <a:accent2>
        <a:srgbClr val="6DBACE"/>
      </a:accent2>
      <a:accent3>
        <a:srgbClr val="C7CECB"/>
      </a:accent3>
      <a:accent4>
        <a:srgbClr val="397798"/>
      </a:accent4>
      <a:accent5>
        <a:srgbClr val="7F898B"/>
      </a:accent5>
      <a:accent6>
        <a:srgbClr val="A8D2E0"/>
      </a:accent6>
      <a:hlink>
        <a:srgbClr val="397798"/>
      </a:hlink>
      <a:folHlink>
        <a:srgbClr val="6DBACE"/>
      </a:folHlink>
    </a:clrScheme>
    <a:fontScheme name="Danske Bank">
      <a:majorFont>
        <a:latin typeface="Danske Human Medium Italic"/>
        <a:ea typeface=""/>
        <a:cs typeface=""/>
      </a:majorFont>
      <a:minorFont>
        <a:latin typeface="Danske Tex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6350" cap="rnd">
          <a:noFill/>
          <a:round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600"/>
          </a:spcBef>
          <a:buClr>
            <a:srgbClr val="003755"/>
          </a:buClr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003755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rnd">
          <a:noFill/>
        </a:ln>
      </a:spPr>
      <a:bodyPr wrap="non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buClr>
            <a:schemeClr val="accent1"/>
          </a:buClr>
          <a:buFont typeface="Danske Text" panose="00000400000000000000" pitchFamily="2" charset="0"/>
          <a:buNone/>
          <a:defRPr sz="14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Danske Midnight Blue">
      <a:srgbClr val="003755"/>
    </a:custClr>
    <a:custClr name="Danske Sea Blue">
      <a:srgbClr val="6DBACE"/>
    </a:custClr>
    <a:custClr name="Danske Autumn Red">
      <a:srgbClr val="E65A6D"/>
    </a:custClr>
    <a:custClr name="Danske Meadow Green">
      <a:srgbClr val="09B89D"/>
    </a:custClr>
    <a:custClr name="Danske Corn Yellow">
      <a:srgbClr val="FFE17F"/>
    </a:custClr>
    <a:custClr name="Danske Amber Orange">
      <a:srgbClr val="FBB273"/>
    </a:custClr>
    <a:custClr name="Danske Berry Purple ">
      <a:srgbClr val="74489D"/>
    </a:custClr>
    <a:custClr name="Danske Sky Blue">
      <a:srgbClr val="D7E9F1"/>
    </a:custClr>
    <a:custClr name="Danske Granite Gray">
      <a:srgbClr val="3A4344"/>
    </a:custClr>
    <a:custClr name="Danske Slate Gray">
      <a:srgbClr val="7B8185"/>
    </a:custClr>
    <a:custClr name="Danske Midnight Blue 80%">
      <a:srgbClr val="00597B"/>
    </a:custClr>
    <a:custClr name="Danske Sea Blue 80%">
      <a:srgbClr val="8BC5D7"/>
    </a:custClr>
    <a:custClr name="Danske Autumn Red 80%">
      <a:srgbClr val="EB7C83"/>
    </a:custClr>
    <a:custClr name="Danske Meadow Green 80%">
      <a:srgbClr val="5EC3AE"/>
    </a:custClr>
    <a:custClr name="Danske Corn Yellow 80%">
      <a:srgbClr val="FFE698"/>
    </a:custClr>
    <a:custClr name="Danske Amber Orange 80%">
      <a:srgbClr val="FCC18B"/>
    </a:custClr>
    <a:custClr name="Danske Berry Purple 80%">
      <a:srgbClr val="8865AC"/>
    </a:custClr>
    <a:custClr name="Danske Sky Blue 80%">
      <a:srgbClr val="E0EEF5"/>
    </a:custClr>
    <a:custClr name="Danske Granite Gray 80%">
      <a:srgbClr val="5E676A"/>
    </a:custClr>
    <a:custClr name="Danske Slate Gray 80%">
      <a:srgbClr val="93989C"/>
    </a:custClr>
    <a:custClr name="Danske Midnight Blue 40%">
      <a:srgbClr val="739DB7"/>
    </a:custClr>
    <a:custClr name="Danske Sea Blue 40%">
      <a:srgbClr val="C3E0EB"/>
    </a:custClr>
    <a:custClr name="Danske Autumn Red 40%">
      <a:srgbClr val="F4BAB8"/>
    </a:custClr>
    <a:custClr name="Danske Meadow Green 40%">
      <a:srgbClr val="B2DFD3"/>
    </a:custClr>
    <a:custClr name="Danske Corn Yellow 40%">
      <a:srgbClr val="FFF3CA"/>
    </a:custClr>
    <a:custClr name="Danske Amber Orange 40%">
      <a:srgbClr val="FEDDBF"/>
    </a:custClr>
    <a:custClr name="Danske Berry Purple 40%">
      <a:srgbClr val="BAA7D1"/>
    </a:custClr>
    <a:custClr name="Danske Sky Blue 40%">
      <a:srgbClr val="F0F7FA"/>
    </a:custClr>
    <a:custClr name="Danske Granite Gray 40%">
      <a:srgbClr val="A6ADB0"/>
    </a:custClr>
    <a:custClr name="Danske Slate Gray 40%">
      <a:srgbClr val="C5C8CB"/>
    </a:custClr>
    <a:custClr name="Danske Midnight Blue 20%">
      <a:srgbClr val="AFC8D8"/>
    </a:custClr>
    <a:custClr name="Danske Sea Blue 20%">
      <a:srgbClr val="E0EEF4"/>
    </a:custClr>
    <a:custClr name="Danske Autumn Red 20%">
      <a:srgbClr val="F9DAD8"/>
    </a:custClr>
    <a:custClr name="Danske Meadow Green 20%">
      <a:srgbClr val="D6EDE7"/>
    </a:custClr>
    <a:custClr name="Danske Corn Yellow 20%">
      <a:srgbClr val="FFF9E2"/>
    </a:custClr>
    <a:custClr name="Danske Amber Orange 20%">
      <a:srgbClr val="FEEEDC"/>
    </a:custClr>
    <a:custClr name="Danske Berry Purple 20%">
      <a:srgbClr val="D9D0E7"/>
    </a:custClr>
    <a:custClr name="Danske Sky Blue 20%">
      <a:srgbClr val="F7FAFC"/>
    </a:custClr>
    <a:custClr name="Danske Granite Gray 20%">
      <a:srgbClr val="D0D4D6"/>
    </a:custClr>
    <a:custClr name="Danske Slate Gray 20%">
      <a:srgbClr val="E0E2E3"/>
    </a:custClr>
    <a:custClr name="Danske Midnight Blue 10%">
      <a:srgbClr val="D4E1EA"/>
    </a:custClr>
    <a:custClr name="Danske Sea Blue 10%">
      <a:srgbClr val="EFF6F9"/>
    </a:custClr>
    <a:custClr name="Danske Autumn Red 10%">
      <a:srgbClr val="FCECEA"/>
    </a:custClr>
    <a:custClr name="Danske Meadow Green 10%">
      <a:srgbClr val="EAF6F3"/>
    </a:custClr>
    <a:custClr name="Danske Corn Yellow 10%">
      <a:srgbClr val="FFFBF0"/>
    </a:custClr>
    <a:custClr name="Danske Amber Orange 10%">
      <a:srgbClr val="FEF6ED"/>
    </a:custClr>
    <a:custClr name="Danske Berry Purple 10%">
      <a:srgbClr val="EBE6F2"/>
    </a:custClr>
    <a:custClr name="  ">
      <a:srgbClr val="FFFFFF"/>
    </a:custClr>
    <a:custClr name="Danske Granite Gray 10%">
      <a:srgbClr val="E6E8E9"/>
    </a:custClr>
    <a:custClr name="Danske Slate Gray 10%">
      <a:srgbClr val="EFF0F1"/>
    </a:custClr>
  </a:custClrLst>
  <a:extLst>
    <a:ext uri="{05A4C25C-085E-4340-85A3-A5531E510DB2}">
      <thm15:themeFamily xmlns:thm15="http://schemas.microsoft.com/office/thememl/2012/main" name="Danske IT" id="{5BB2126E-1050-4A6F-A5ED-3D0ED9786920}" vid="{FA133CD3-B251-4209-9C95-A20AFB8509C3}"/>
    </a:ext>
  </a:extLst>
</a:theme>
</file>

<file path=ppt/theme/theme2.xml><?xml version="1.0" encoding="utf-8"?>
<a:theme xmlns:a="http://schemas.openxmlformats.org/drawingml/2006/main" name="Office Theme">
  <a:themeElements>
    <a:clrScheme name="Danske Bank">
      <a:dk1>
        <a:srgbClr val="000000"/>
      </a:dk1>
      <a:lt1>
        <a:sysClr val="window" lastClr="FFFFFF"/>
      </a:lt1>
      <a:dk2>
        <a:srgbClr val="003755"/>
      </a:dk2>
      <a:lt2>
        <a:srgbClr val="E7F1F7"/>
      </a:lt2>
      <a:accent1>
        <a:srgbClr val="003755"/>
      </a:accent1>
      <a:accent2>
        <a:srgbClr val="6DBACE"/>
      </a:accent2>
      <a:accent3>
        <a:srgbClr val="C7CECB"/>
      </a:accent3>
      <a:accent4>
        <a:srgbClr val="397798"/>
      </a:accent4>
      <a:accent5>
        <a:srgbClr val="7F898B"/>
      </a:accent5>
      <a:accent6>
        <a:srgbClr val="A8D2E0"/>
      </a:accent6>
      <a:hlink>
        <a:srgbClr val="397798"/>
      </a:hlink>
      <a:folHlink>
        <a:srgbClr val="6DBACE"/>
      </a:folHlink>
    </a:clrScheme>
    <a:fontScheme name="Danske Bank">
      <a:majorFont>
        <a:latin typeface="Danske Human Medium Italic"/>
        <a:ea typeface=""/>
        <a:cs typeface=""/>
      </a:majorFont>
      <a:minorFont>
        <a:latin typeface="Dansk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nske Midnight Blue">
      <a:srgbClr val="003755"/>
    </a:custClr>
    <a:custClr name="Danske Sea Blue">
      <a:srgbClr val="6DBACE"/>
    </a:custClr>
    <a:custClr name="Danske Autumn Red">
      <a:srgbClr val="E65A6D"/>
    </a:custClr>
    <a:custClr name="Danske Meadow Green">
      <a:srgbClr val="09B89D"/>
    </a:custClr>
    <a:custClr name="Danske Corn Yellow">
      <a:srgbClr val="FFE17F"/>
    </a:custClr>
    <a:custClr name="Danske Amber Orange">
      <a:srgbClr val="FBB273"/>
    </a:custClr>
    <a:custClr name="Danske Berry Purple ">
      <a:srgbClr val="74489D"/>
    </a:custClr>
    <a:custClr name="Danske Sky Blue">
      <a:srgbClr val="D7E9F1"/>
    </a:custClr>
    <a:custClr name="Danske Granite Gray">
      <a:srgbClr val="3A4344"/>
    </a:custClr>
    <a:custClr name="Danske Slate Gray">
      <a:srgbClr val="7B8185"/>
    </a:custClr>
    <a:custClr name="Danske Midnight Blue 80%">
      <a:srgbClr val="00597B"/>
    </a:custClr>
    <a:custClr name="Danske Sea Blue 80%">
      <a:srgbClr val="8BC5D7"/>
    </a:custClr>
    <a:custClr name="Danske Autumn Red 80%">
      <a:srgbClr val="EB7C83"/>
    </a:custClr>
    <a:custClr name="Danske Meadow Green 80%">
      <a:srgbClr val="5EC3AE"/>
    </a:custClr>
    <a:custClr name="Danske Corn Yellow 80%">
      <a:srgbClr val="FFE698"/>
    </a:custClr>
    <a:custClr name="Danske Amber Orange 80%">
      <a:srgbClr val="FCC18B"/>
    </a:custClr>
    <a:custClr name="Danske Berry Purple 80%">
      <a:srgbClr val="8865AC"/>
    </a:custClr>
    <a:custClr name="Danske Sky Blue 80%">
      <a:srgbClr val="E0EEF5"/>
    </a:custClr>
    <a:custClr name="Danske Granite Gray 80%">
      <a:srgbClr val="5E676A"/>
    </a:custClr>
    <a:custClr name="Danske Slate Gray 80%">
      <a:srgbClr val="93989C"/>
    </a:custClr>
    <a:custClr name="Danske Midnight Blue 40%">
      <a:srgbClr val="739DB7"/>
    </a:custClr>
    <a:custClr name="Danske Sea Blue 40%">
      <a:srgbClr val="C3E0EB"/>
    </a:custClr>
    <a:custClr name="Danske Autumn Red 40%">
      <a:srgbClr val="F4BAB8"/>
    </a:custClr>
    <a:custClr name="Danske Meadow Green 40%">
      <a:srgbClr val="B2DFD3"/>
    </a:custClr>
    <a:custClr name="Danske Corn Yellow 40%">
      <a:srgbClr val="FFF3CA"/>
    </a:custClr>
    <a:custClr name="Danske Amber Orange 40%">
      <a:srgbClr val="FEDDBF"/>
    </a:custClr>
    <a:custClr name="Danske Berry Purple 40%">
      <a:srgbClr val="BAA7D1"/>
    </a:custClr>
    <a:custClr name="Danske Sky Blue 40%">
      <a:srgbClr val="F0F7FA"/>
    </a:custClr>
    <a:custClr name="Danske Granite Gray 40%">
      <a:srgbClr val="A6ADB0"/>
    </a:custClr>
    <a:custClr name="Danske Slate Gray 40%">
      <a:srgbClr val="C5C8CB"/>
    </a:custClr>
    <a:custClr name="Danske Midnight Blue 20%">
      <a:srgbClr val="AFC8D8"/>
    </a:custClr>
    <a:custClr name="Danske Sea Blue 20%">
      <a:srgbClr val="E0EEF4"/>
    </a:custClr>
    <a:custClr name="Danske Autumn Red 20%">
      <a:srgbClr val="F9DAD8"/>
    </a:custClr>
    <a:custClr name="Danske Meadow Green 20%">
      <a:srgbClr val="D6EDE7"/>
    </a:custClr>
    <a:custClr name="Danske Corn Yellow 20%">
      <a:srgbClr val="FFF9E2"/>
    </a:custClr>
    <a:custClr name="Danske Amber Orange 20%">
      <a:srgbClr val="FEEEDC"/>
    </a:custClr>
    <a:custClr name="Danske Berry Purple 20%">
      <a:srgbClr val="D9D0E7"/>
    </a:custClr>
    <a:custClr name="Danske Sky Blue 20%">
      <a:srgbClr val="F7FAFC"/>
    </a:custClr>
    <a:custClr name="Danske Granite Gray 20%">
      <a:srgbClr val="D0D4D6"/>
    </a:custClr>
    <a:custClr name="Danske Slate Gray 20%">
      <a:srgbClr val="E0E2E3"/>
    </a:custClr>
    <a:custClr name="Danske Midnight Blue 10%">
      <a:srgbClr val="D4E1EA"/>
    </a:custClr>
    <a:custClr name="Danske Sea Blue 10%">
      <a:srgbClr val="EFF6F9"/>
    </a:custClr>
    <a:custClr name="Danske Autumn Red 10%">
      <a:srgbClr val="FCECEA"/>
    </a:custClr>
    <a:custClr name="Danske Meadow Green 10%">
      <a:srgbClr val="EAF6F3"/>
    </a:custClr>
    <a:custClr name="Danske Corn Yellow 10%">
      <a:srgbClr val="FFFBF0"/>
    </a:custClr>
    <a:custClr name="Danske Amber Orange 10%">
      <a:srgbClr val="FEF6ED"/>
    </a:custClr>
    <a:custClr name="Danske Berry Purple 10%">
      <a:srgbClr val="EBE6F2"/>
    </a:custClr>
    <a:custClr name="  ">
      <a:srgbClr val="FFFFFF"/>
    </a:custClr>
    <a:custClr name="Danske Granite Gray 10%">
      <a:srgbClr val="E6E8E9"/>
    </a:custClr>
    <a:custClr name="Danske Slate Gray 10%">
      <a:srgbClr val="EFF0F1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Danske Bank">
      <a:dk1>
        <a:srgbClr val="000000"/>
      </a:dk1>
      <a:lt1>
        <a:sysClr val="window" lastClr="FFFFFF"/>
      </a:lt1>
      <a:dk2>
        <a:srgbClr val="003755"/>
      </a:dk2>
      <a:lt2>
        <a:srgbClr val="E7F1F7"/>
      </a:lt2>
      <a:accent1>
        <a:srgbClr val="003755"/>
      </a:accent1>
      <a:accent2>
        <a:srgbClr val="6DBACE"/>
      </a:accent2>
      <a:accent3>
        <a:srgbClr val="C7CECB"/>
      </a:accent3>
      <a:accent4>
        <a:srgbClr val="397798"/>
      </a:accent4>
      <a:accent5>
        <a:srgbClr val="7F898B"/>
      </a:accent5>
      <a:accent6>
        <a:srgbClr val="A8D2E0"/>
      </a:accent6>
      <a:hlink>
        <a:srgbClr val="397798"/>
      </a:hlink>
      <a:folHlink>
        <a:srgbClr val="6DBACE"/>
      </a:folHlink>
    </a:clrScheme>
    <a:fontScheme name="Danske Bank">
      <a:majorFont>
        <a:latin typeface="Danske Human Medium Italic"/>
        <a:ea typeface=""/>
        <a:cs typeface=""/>
      </a:majorFont>
      <a:minorFont>
        <a:latin typeface="Dansk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nske Midnight Blue">
      <a:srgbClr val="003755"/>
    </a:custClr>
    <a:custClr name="Danske Sea Blue">
      <a:srgbClr val="6DBACE"/>
    </a:custClr>
    <a:custClr name="Danske Autumn Red">
      <a:srgbClr val="E65A6D"/>
    </a:custClr>
    <a:custClr name="Danske Meadow Green">
      <a:srgbClr val="09B89D"/>
    </a:custClr>
    <a:custClr name="Danske Corn Yellow">
      <a:srgbClr val="FFE17F"/>
    </a:custClr>
    <a:custClr name="Danske Amber Orange">
      <a:srgbClr val="FBB273"/>
    </a:custClr>
    <a:custClr name="Danske Berry Purple ">
      <a:srgbClr val="74489D"/>
    </a:custClr>
    <a:custClr name="Danske Sky Blue">
      <a:srgbClr val="D7E9F1"/>
    </a:custClr>
    <a:custClr name="Danske Granite Gray">
      <a:srgbClr val="3A4344"/>
    </a:custClr>
    <a:custClr name="Danske Slate Gray">
      <a:srgbClr val="7B8185"/>
    </a:custClr>
    <a:custClr name="Danske Midnight Blue 80%">
      <a:srgbClr val="00597B"/>
    </a:custClr>
    <a:custClr name="Danske Sea Blue 80%">
      <a:srgbClr val="8BC5D7"/>
    </a:custClr>
    <a:custClr name="Danske Autumn Red 80%">
      <a:srgbClr val="EB7C83"/>
    </a:custClr>
    <a:custClr name="Danske Meadow Green 80%">
      <a:srgbClr val="5EC3AE"/>
    </a:custClr>
    <a:custClr name="Danske Corn Yellow 80%">
      <a:srgbClr val="FFE698"/>
    </a:custClr>
    <a:custClr name="Danske Amber Orange 80%">
      <a:srgbClr val="FCC18B"/>
    </a:custClr>
    <a:custClr name="Danske Berry Purple 80%">
      <a:srgbClr val="8865AC"/>
    </a:custClr>
    <a:custClr name="Danske Sky Blue 80%">
      <a:srgbClr val="E0EEF5"/>
    </a:custClr>
    <a:custClr name="Danske Granite Gray 80%">
      <a:srgbClr val="5E676A"/>
    </a:custClr>
    <a:custClr name="Danske Slate Gray 80%">
      <a:srgbClr val="93989C"/>
    </a:custClr>
    <a:custClr name="Danske Midnight Blue 40%">
      <a:srgbClr val="739DB7"/>
    </a:custClr>
    <a:custClr name="Danske Sea Blue 40%">
      <a:srgbClr val="C3E0EB"/>
    </a:custClr>
    <a:custClr name="Danske Autumn Red 40%">
      <a:srgbClr val="F4BAB8"/>
    </a:custClr>
    <a:custClr name="Danske Meadow Green 40%">
      <a:srgbClr val="B2DFD3"/>
    </a:custClr>
    <a:custClr name="Danske Corn Yellow 40%">
      <a:srgbClr val="FFF3CA"/>
    </a:custClr>
    <a:custClr name="Danske Amber Orange 40%">
      <a:srgbClr val="FEDDBF"/>
    </a:custClr>
    <a:custClr name="Danske Berry Purple 40%">
      <a:srgbClr val="BAA7D1"/>
    </a:custClr>
    <a:custClr name="Danske Sky Blue 40%">
      <a:srgbClr val="F0F7FA"/>
    </a:custClr>
    <a:custClr name="Danske Granite Gray 40%">
      <a:srgbClr val="A6ADB0"/>
    </a:custClr>
    <a:custClr name="Danske Slate Gray 40%">
      <a:srgbClr val="C5C8CB"/>
    </a:custClr>
    <a:custClr name="Danske Midnight Blue 20%">
      <a:srgbClr val="E5EBEE"/>
    </a:custClr>
    <a:custClr name="Danske Sea Blue 20%">
      <a:srgbClr val="E0EEF4"/>
    </a:custClr>
    <a:custClr name="Danske Autumn Red 20%">
      <a:srgbClr val="F9DAD8"/>
    </a:custClr>
    <a:custClr name="Danske Meadow Green 20%">
      <a:srgbClr val="D6EDE7"/>
    </a:custClr>
    <a:custClr name="Danske Corn Yellow 20%">
      <a:srgbClr val="FFF9E2"/>
    </a:custClr>
    <a:custClr name="Danske Amber Orange 20%">
      <a:srgbClr val="FEEEDC"/>
    </a:custClr>
    <a:custClr name="Danske Berry Purple 20%">
      <a:srgbClr val="D9D0E7"/>
    </a:custClr>
    <a:custClr name="Danske Sky Blue 20%">
      <a:srgbClr val="F7FAFC"/>
    </a:custClr>
    <a:custClr name="Danske Granite Gray 20%">
      <a:srgbClr val="D0D4D6"/>
    </a:custClr>
    <a:custClr name="Danske Slate Gray 20%">
      <a:srgbClr val="E0E2E3"/>
    </a:custClr>
    <a:custClr name="Danske Midnight Blue 10%">
      <a:srgbClr val="E5EBEE"/>
    </a:custClr>
    <a:custClr name="Danske Sea Blue 10%">
      <a:srgbClr val="EFF6F9"/>
    </a:custClr>
    <a:custClr name="Danske Autumn Red 10%">
      <a:srgbClr val="FCECEA"/>
    </a:custClr>
    <a:custClr name="Danske Meadow Green 10%">
      <a:srgbClr val="EAF6F3"/>
    </a:custClr>
    <a:custClr name="Danske Corn Yellow 10%">
      <a:srgbClr val="FFFBF0"/>
    </a:custClr>
    <a:custClr name="Danske Amber Orange 10%">
      <a:srgbClr val="FEF6ED"/>
    </a:custClr>
    <a:custClr name="Danske Berry Purple 10%">
      <a:srgbClr val="EBE6F2"/>
    </a:custClr>
    <a:custClr name="  ">
      <a:srgbClr val="FFFFFF"/>
    </a:custClr>
    <a:custClr name="Danske Granite Gray 10%">
      <a:srgbClr val="E6E8E9"/>
    </a:custClr>
    <a:custClr name="Danske Slate Gray 10%">
      <a:srgbClr val="EFF0F1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0AC2275C336634A8785D9151A32F889" ma:contentTypeVersion="0" ma:contentTypeDescription="Create a new document." ma:contentTypeScope="" ma:versionID="837daaafbd83eedeca0c65dc8fc2cde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A1F4691-3D0B-46F3-ABD2-D23E8678633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1E3DE5E0-CD50-45D4-BA8C-74BAF66765D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50F12B2-43B9-46CD-B1CE-F17D45ACBA44}">
  <ds:schemaRefs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006</TotalTime>
  <Words>375</Words>
  <Application>Microsoft Office PowerPoint</Application>
  <PresentationFormat>Widescreen</PresentationFormat>
  <Paragraphs>72</Paragraphs>
  <Slides>13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Danske Human Medium Italic</vt:lpstr>
      <vt:lpstr>Danske Text</vt:lpstr>
      <vt:lpstr>Widerscreen - Danske IT</vt:lpstr>
      <vt:lpstr>think-cell Slide</vt:lpstr>
      <vt:lpstr>Churn Prevention – Scandinavian bank</vt:lpstr>
      <vt:lpstr>A revamped “Churn Prevention” solution needed to be developed to improve upon challenges in existing churn prevention efforts</vt:lpstr>
      <vt:lpstr>Product category level predictive models were developed &amp; integrated to develop a prioritized list of customers at high risk of churn</vt:lpstr>
      <vt:lpstr>Multiple data modeling &amp; mining techniques were evaluated and explored before the final models were selected for the campaign execution</vt:lpstr>
      <vt:lpstr>Close collaboration with the business and frontline was required in the campaign  design, execution and measurement process</vt:lpstr>
      <vt:lpstr>In addition, useful “conversation starters” were developed to help frontline create the right messaging strategy for the campaign </vt:lpstr>
      <vt:lpstr>The pilot campaign was designed not just to prevent churn, but to also learn more about churn</vt:lpstr>
      <vt:lpstr>Insights from the pilot campaign and the survey will help in revamping the model, and the roll-out strategy for a full scale campaign</vt:lpstr>
      <vt:lpstr>Churn prevention 2.0 has been developed and set up for testing after taking into account learnings from first version </vt:lpstr>
      <vt:lpstr>Key takeaway</vt:lpstr>
      <vt:lpstr>This project allowed us to lay the groundwork for developing multiple churn prevention projects across business groups and market areas</vt:lpstr>
      <vt:lpstr>A robust problem solving framework allows us to deliver holistic, end-to-end solutions for the business</vt:lpstr>
      <vt:lpstr>Appendix</vt:lpstr>
    </vt:vector>
  </TitlesOfParts>
  <Company>Danske Ban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ishalini K</dc:creator>
  <cp:lastModifiedBy>Parnika Pancholi</cp:lastModifiedBy>
  <cp:revision>201</cp:revision>
  <cp:lastPrinted>2018-01-17T12:59:53Z</cp:lastPrinted>
  <dcterms:created xsi:type="dcterms:W3CDTF">2018-05-22T06:24:24Z</dcterms:created>
  <dcterms:modified xsi:type="dcterms:W3CDTF">2019-06-15T12:22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0AC2275C336634A8785D9151A32F889</vt:lpwstr>
  </property>
</Properties>
</file>